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44.xml" ContentType="application/vnd.openxmlformats-officedocument.presentationml.tags+xml"/>
  <Override PartName="/ppt/notesSlides/notesSlide2.xml" ContentType="application/vnd.openxmlformats-officedocument.presentationml.notesSlide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ppt/tags/tag46.xml" ContentType="application/vnd.openxmlformats-officedocument.presentationml.tags+xml"/>
  <Override PartName="/ppt/notesSlides/notesSlide4.xml" ContentType="application/vnd.openxmlformats-officedocument.presentationml.notesSlide+xml"/>
  <Override PartName="/ppt/tags/tag47.xml" ContentType="application/vnd.openxmlformats-officedocument.presentationml.tags+xml"/>
  <Override PartName="/ppt/notesSlides/notesSlide5.xml" ContentType="application/vnd.openxmlformats-officedocument.presentationml.notesSlide+xml"/>
  <Override PartName="/ppt/tags/tag4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0" r:id="rId1"/>
    <p:sldMasterId id="2147486318" r:id="rId2"/>
  </p:sldMasterIdLst>
  <p:notesMasterIdLst>
    <p:notesMasterId r:id="rId10"/>
  </p:notesMasterIdLst>
  <p:handoutMasterIdLst>
    <p:handoutMasterId r:id="rId11"/>
  </p:handoutMasterIdLst>
  <p:sldIdLst>
    <p:sldId id="330" r:id="rId3"/>
    <p:sldId id="2142533894" r:id="rId4"/>
    <p:sldId id="2142533892" r:id="rId5"/>
    <p:sldId id="2142533900" r:id="rId6"/>
    <p:sldId id="2142533906" r:id="rId7"/>
    <p:sldId id="2142533907" r:id="rId8"/>
    <p:sldId id="2142533858" r:id="rId9"/>
  </p:sldIdLst>
  <p:sldSz cx="9144000" cy="5143500" type="screen16x9"/>
  <p:notesSz cx="9944100" cy="6805613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67EB06B6-99A0-4D47-805E-F78F6D4F2187}">
          <p14:sldIdLst>
            <p14:sldId id="330"/>
            <p14:sldId id="2142533894"/>
            <p14:sldId id="2142533892"/>
            <p14:sldId id="2142533900"/>
            <p14:sldId id="2142533906"/>
            <p14:sldId id="2142533907"/>
          </p14:sldIdLst>
        </p14:section>
        <p14:section name="Untitled Section" id="{31976D30-6224-41DF-A7B6-966006E689CE}">
          <p14:sldIdLst>
            <p14:sldId id="214253385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45" userDrawn="1">
          <p15:clr>
            <a:srgbClr val="A4A3A4"/>
          </p15:clr>
        </p15:guide>
        <p15:guide id="2" orient="horz" pos="327">
          <p15:clr>
            <a:srgbClr val="A4A3A4"/>
          </p15:clr>
        </p15:guide>
        <p15:guide id="3" orient="horz" pos="2796">
          <p15:clr>
            <a:srgbClr val="A4A3A4"/>
          </p15:clr>
        </p15:guide>
        <p15:guide id="4" orient="horz" pos="3083">
          <p15:clr>
            <a:srgbClr val="A4A3A4"/>
          </p15:clr>
        </p15:guide>
        <p15:guide id="5" orient="horz" pos="673">
          <p15:clr>
            <a:srgbClr val="A4A3A4"/>
          </p15:clr>
        </p15:guide>
        <p15:guide id="6" orient="horz" pos="872">
          <p15:clr>
            <a:srgbClr val="A4A3A4"/>
          </p15:clr>
        </p15:guide>
        <p15:guide id="7" orient="horz" pos="1772">
          <p15:clr>
            <a:srgbClr val="A4A3A4"/>
          </p15:clr>
        </p15:guide>
        <p15:guide id="8" pos="5602">
          <p15:clr>
            <a:srgbClr val="A4A3A4"/>
          </p15:clr>
        </p15:guide>
        <p15:guide id="9" pos="176">
          <p15:clr>
            <a:srgbClr val="A4A3A4"/>
          </p15:clr>
        </p15:guide>
        <p15:guide id="10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4" userDrawn="1">
          <p15:clr>
            <a:srgbClr val="A4A3A4"/>
          </p15:clr>
        </p15:guide>
        <p15:guide id="2" pos="3132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74A712B-F7A9-A4BD-2DA4-D746E5AA2EBA}" name="Leiner_Killinger, Nadine" initials="LN" userId="S::nadine.leiner-killinger@ecb.europa.eu::55caf605-4ab7-4373-8cd9-7102ca02a0a2" providerId="AD"/>
  <p188:author id="{03463650-5926-9C3C-7FA1-7ABE4EBD44E0}" name="Kapp, Daniel" initials="KD" userId="S::Daniel.Kapp@ecb.europa.eu::48f49f0f-0efc-450e-80d5-092ba85a3c13" providerId="AD"/>
  <p188:author id="{CF19FE61-EDDA-B153-1C9E-671FA82F54EE}" name="Hsieh, Robin" initials="HR" userId="S::robin.hsieh@ecb.europa.eu::09810e98-b284-4012-a4a5-0f3a6ac9392d" providerId="AD"/>
  <p188:author id="{9F1AE077-A753-0889-1E79-4601A733237B}" name="Haroutunian, Stephan" initials="HS" userId="S::Stephan.Haroutunian@ecb.europa.eu::ddf69976-be25-4880-8a88-19c976b4d383" providerId="AD"/>
  <p188:author id="{64C6108A-7D6E-7116-9A58-F750E97AB838}" name="Pires, Fatima" initials="PF" userId="S::Fatima.Pires@ecb.europa.eu::37b91a8b-759a-435d-be77-4d5190c21de9" providerId="AD"/>
  <p188:author id="{C864C4A7-D566-79A6-5755-9B8E80BDA4A9}" name="Momferatou, Daphne" initials="MD" userId="S::daphne.momferatou@ecb.europa.eu::c47759cb-74d6-4ba8-a507-26b2bd8d4a47" providerId="AD"/>
  <p188:author id="{1DBF95BB-2868-3412-5AAF-CD29D7AC9EDE}" name="Vinci, Francesca Romana" initials="VFR" userId="S::francesca_romana.vinci@ecb.europa.eu::cb9de70d-a41a-4c15-a0e2-d5734f64b0f0" providerId="AD"/>
  <p188:author id="{05F6F2CA-83AA-A337-2A0B-9E06D865A460}" name="O'Connell, Marguerite" initials="OM" userId="S::Marguerite.Connell@ecb.europa.eu::ab56796e-9f8f-44cd-80c7-2a18cb7f43da" providerId="AD"/>
  <p188:author id="{143E24D3-3036-E7B9-F141-F8C32EF6A020}" name="Sondermann, David" initials="SD" userId="S::David.Sondermann@ecb.europa.eu::a4e67174-7a76-41ef-9087-c1892656fa5e" providerId="AD"/>
  <p188:author id="{9E4ECCDB-7F6D-01BC-207E-C6076A29EBFD}" name="Nickel, Christiane" initials="NC" userId="S::christiane.nickel@ecb.europa.eu::b86a3ae5-bd51-44b4-915e-0d552afae7ec" providerId="AD"/>
  <p188:author id="{6AD731F8-6729-694A-EF64-5EA94E57C911}" name="Zorell, Nico" initials="ZN" userId="S::nico_benjamin.zorell@ecb.europa.eu::bd851c0f-6de3-456b-b2bb-0b89765c608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zcinska, Agnieszka" initials="TA" lastIdx="1" clrIdx="0">
    <p:extLst>
      <p:ext uri="{19B8F6BF-5375-455C-9EA6-DF929625EA0E}">
        <p15:presenceInfo xmlns:p15="http://schemas.microsoft.com/office/powerpoint/2012/main" userId="S-1-5-21-2117862466-1261245850-1031210941-59506" providerId="AD"/>
      </p:ext>
    </p:extLst>
  </p:cmAuthor>
  <p:cmAuthor id="2" name="Haroutunian, Stephan" initials="HS" lastIdx="12" clrIdx="1">
    <p:extLst>
      <p:ext uri="{19B8F6BF-5375-455C-9EA6-DF929625EA0E}">
        <p15:presenceInfo xmlns:p15="http://schemas.microsoft.com/office/powerpoint/2012/main" userId="S::Stephan.Haroutunian@ecb.europa.eu::ddf69976-be25-4880-8a88-19c976b4d383" providerId="AD"/>
      </p:ext>
    </p:extLst>
  </p:cmAuthor>
  <p:cmAuthor id="3" name="Leiner_Killinger, Nadine" initials="LN" lastIdx="46" clrIdx="2">
    <p:extLst>
      <p:ext uri="{19B8F6BF-5375-455C-9EA6-DF929625EA0E}">
        <p15:presenceInfo xmlns:p15="http://schemas.microsoft.com/office/powerpoint/2012/main" userId="S::nadine.leiner-killinger@ecb.europa.eu::55caf605-4ab7-4373-8cd9-7102ca02a0a2" providerId="AD"/>
      </p:ext>
    </p:extLst>
  </p:cmAuthor>
  <p:cmAuthor id="4" name="Rouveyrol, Clément" initials="RC" lastIdx="25" clrIdx="3">
    <p:extLst>
      <p:ext uri="{19B8F6BF-5375-455C-9EA6-DF929625EA0E}">
        <p15:presenceInfo xmlns:p15="http://schemas.microsoft.com/office/powerpoint/2012/main" userId="S::clement.rouveyrol@ecb.europa.eu::6c124b6f-2a5b-4a0f-8f02-8a589014d2db" providerId="AD"/>
      </p:ext>
    </p:extLst>
  </p:cmAuthor>
  <p:cmAuthor id="5" name="Bischl, Johannes Simeon" initials="BJS" lastIdx="7" clrIdx="4">
    <p:extLst>
      <p:ext uri="{19B8F6BF-5375-455C-9EA6-DF929625EA0E}">
        <p15:presenceInfo xmlns:p15="http://schemas.microsoft.com/office/powerpoint/2012/main" userId="S::johannes_simeon.bischl@ecb.europa.eu::b83413e0-44fb-40af-b63a-9bb23f2451b7" providerId="AD"/>
      </p:ext>
    </p:extLst>
  </p:cmAuthor>
  <p:cmAuthor id="6" name="Pires, Fatima" initials="PF" lastIdx="36" clrIdx="5">
    <p:extLst>
      <p:ext uri="{19B8F6BF-5375-455C-9EA6-DF929625EA0E}">
        <p15:presenceInfo xmlns:p15="http://schemas.microsoft.com/office/powerpoint/2012/main" userId="S::Fatima.Pires@ecb.europa.eu::37b91a8b-759a-435d-be77-4d5190c21de9" providerId="AD"/>
      </p:ext>
    </p:extLst>
  </p:cmAuthor>
  <p:cmAuthor id="7" name="Nickel, Christiane" initials="NC" lastIdx="16" clrIdx="6">
    <p:extLst>
      <p:ext uri="{19B8F6BF-5375-455C-9EA6-DF929625EA0E}">
        <p15:presenceInfo xmlns:p15="http://schemas.microsoft.com/office/powerpoint/2012/main" userId="S::christiane.nickel@ecb.europa.eu::b86a3ae5-bd51-44b4-915e-0d552afae7ec" providerId="AD"/>
      </p:ext>
    </p:extLst>
  </p:cmAuthor>
  <p:cmAuthor id="8" name="Delgado Téllez, Mar" initials="DTM" lastIdx="1" clrIdx="7">
    <p:extLst>
      <p:ext uri="{19B8F6BF-5375-455C-9EA6-DF929625EA0E}">
        <p15:presenceInfo xmlns:p15="http://schemas.microsoft.com/office/powerpoint/2012/main" userId="S::mar.delgado_tellez@ecb.europa.eu::6bbd7071-88ed-4f10-8cf2-a58634c07519" providerId="AD"/>
      </p:ext>
    </p:extLst>
  </p:cmAuthor>
  <p:cmAuthor id="9" name="Zorell, Nico" initials="ZN" lastIdx="3" clrIdx="8">
    <p:extLst>
      <p:ext uri="{19B8F6BF-5375-455C-9EA6-DF929625EA0E}">
        <p15:presenceInfo xmlns:p15="http://schemas.microsoft.com/office/powerpoint/2012/main" userId="S::nico_benjamin.zorell@ecb.europa.eu::bd851c0f-6de3-456b-b2bb-0b89765c6085" providerId="AD"/>
      </p:ext>
    </p:extLst>
  </p:cmAuthor>
  <p:cmAuthor id="10" name="Modery, Wolfgang" initials="MW" lastIdx="8" clrIdx="9">
    <p:extLst>
      <p:ext uri="{19B8F6BF-5375-455C-9EA6-DF929625EA0E}">
        <p15:presenceInfo xmlns:p15="http://schemas.microsoft.com/office/powerpoint/2012/main" userId="S::wolfgang.modery@ecb.europa.eu::4c4c04d4-5d03-47bc-8e0a-52da71017c9e" providerId="AD"/>
      </p:ext>
    </p:extLst>
  </p:cmAuthor>
  <p:cmAuthor id="11" name="Arruga Oleaga, Iñigo" initials="AOI" lastIdx="3" clrIdx="10">
    <p:extLst>
      <p:ext uri="{19B8F6BF-5375-455C-9EA6-DF929625EA0E}">
        <p15:presenceInfo xmlns:p15="http://schemas.microsoft.com/office/powerpoint/2012/main" userId="S::inigo.arruga@ecb.europa.eu::1cfb7699-845d-4880-9526-3e498ecd2de5" providerId="AD"/>
      </p:ext>
    </p:extLst>
  </p:cmAuthor>
  <p:cmAuthor id="12" name="Dorrucci, Ettore" initials="DE" lastIdx="6" clrIdx="11">
    <p:extLst>
      <p:ext uri="{19B8F6BF-5375-455C-9EA6-DF929625EA0E}">
        <p15:presenceInfo xmlns:p15="http://schemas.microsoft.com/office/powerpoint/2012/main" userId="S::ettore.dorrucci@ecb.europa.eu::e47a256e-d2ee-43c7-94ec-570efd1fa6ef" providerId="AD"/>
      </p:ext>
    </p:extLst>
  </p:cmAuthor>
  <p:cmAuthor id="13" name="Momferatou, Daphne" initials="MD" lastIdx="3" clrIdx="12">
    <p:extLst>
      <p:ext uri="{19B8F6BF-5375-455C-9EA6-DF929625EA0E}">
        <p15:presenceInfo xmlns:p15="http://schemas.microsoft.com/office/powerpoint/2012/main" userId="S::daphne.momferatou@ecb.europa.eu::c47759cb-74d6-4ba8-a507-26b2bd8d4a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2C2C"/>
    <a:srgbClr val="003299"/>
    <a:srgbClr val="328DD2"/>
    <a:srgbClr val="42B057"/>
    <a:srgbClr val="FD6353"/>
    <a:srgbClr val="F9F9F9"/>
    <a:srgbClr val="FFFFCC"/>
    <a:srgbClr val="F2F2F3"/>
    <a:srgbClr val="FF33CC"/>
    <a:srgbClr val="40AA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621" autoAdjust="0"/>
    <p:restoredTop sz="94384" autoAdjust="0"/>
  </p:normalViewPr>
  <p:slideViewPr>
    <p:cSldViewPr snapToGrid="0">
      <p:cViewPr varScale="1">
        <p:scale>
          <a:sx n="160" d="100"/>
          <a:sy n="160" d="100"/>
        </p:scale>
        <p:origin x="592" y="168"/>
      </p:cViewPr>
      <p:guideLst>
        <p:guide orient="horz" pos="645"/>
        <p:guide orient="horz" pos="327"/>
        <p:guide orient="horz" pos="2796"/>
        <p:guide orient="horz" pos="3083"/>
        <p:guide orient="horz" pos="673"/>
        <p:guide orient="horz" pos="872"/>
        <p:guide orient="horz" pos="1772"/>
        <p:guide pos="5602"/>
        <p:guide pos="176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8" d="100"/>
          <a:sy n="118" d="100"/>
        </p:scale>
        <p:origin x="-2322" y="-96"/>
      </p:cViewPr>
      <p:guideLst>
        <p:guide orient="horz" pos="2144"/>
        <p:guide pos="313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18" Type="http://schemas.microsoft.com/office/2018/10/relationships/authors" Target="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9110" cy="34028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33264" y="0"/>
            <a:ext cx="4309110" cy="34028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CAB7FC4A-625A-4997-845F-B4C665339F19}" type="datetimeFigureOut">
              <a:rPr lang="en-GB"/>
              <a:pPr>
                <a:defRPr/>
              </a:pPr>
              <a:t>11/12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463757"/>
            <a:ext cx="4309110" cy="34028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33264" y="6463757"/>
            <a:ext cx="4309110" cy="34028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070A9823-B0A4-4CFF-8BC2-549B802A5C2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4767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9110" cy="34028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33264" y="0"/>
            <a:ext cx="4309110" cy="34028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EE00F59-3AAD-4389-AAA8-78C8B1295C93}" type="datetimeFigureOut">
              <a:rPr lang="en-GB"/>
              <a:pPr>
                <a:defRPr/>
              </a:pPr>
              <a:t>11/12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705100" y="511175"/>
            <a:ext cx="4533900" cy="2551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4410" y="3232666"/>
            <a:ext cx="7955280" cy="306252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63757"/>
            <a:ext cx="4309110" cy="34028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33264" y="6463757"/>
            <a:ext cx="4309110" cy="34028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589E48D-882E-48E9-AC90-458C8EC6131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312746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589E48D-882E-48E9-AC90-458C8EC61319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7680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86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indent="0">
              <a:buFont typeface="Arial" panose="020B0604020202020204" pitchFamily="34" charset="0"/>
              <a:buNone/>
            </a:pPr>
            <a:endParaRPr lang="en-GB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5C281C-6729-4C99-96FF-16AC63E42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31913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86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5C281C-6729-4C99-96FF-16AC63E42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7158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86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5C281C-6729-4C99-96FF-16AC63E42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1597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86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5C281C-6729-4C99-96FF-16AC63E42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12182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86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5C281C-6729-4C99-96FF-16AC63E42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04374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589E48D-882E-48E9-AC90-458C8EC61319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69773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image" Target="../media/image4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4" Type="http://schemas.openxmlformats.org/officeDocument/2006/relationships/image" Target="../media/image8.pn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-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6372225" y="5003800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pic>
        <p:nvPicPr>
          <p:cNvPr id="8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"/>
          <p:cNvSpPr>
            <a:spLocks noChangeArrowheads="1"/>
          </p:cNvSpPr>
          <p:nvPr userDrawn="1"/>
        </p:nvSpPr>
        <p:spPr bwMode="auto">
          <a:xfrm>
            <a:off x="468313" y="3124200"/>
            <a:ext cx="792162" cy="2698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FontTx/>
              <a:buNone/>
              <a:defRPr/>
            </a:pPr>
            <a:endParaRPr lang="en-GB" altLang="en-US" sz="1800">
              <a:ea typeface="ヒラギノ角ゴ Pro W3"/>
              <a:cs typeface="ヒラギノ角ゴ Pro W3"/>
            </a:endParaRPr>
          </a:p>
        </p:txBody>
      </p:sp>
      <p:pic>
        <p:nvPicPr>
          <p:cNvPr id="10" name="Picture 2" descr="C:\Users\kourent\Desktop\_PROJECTS_\VisualBranding_OfficeDocuments\PPT\Output\02\logo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313" y="335624"/>
            <a:ext cx="1765542" cy="766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 2"/>
          <p:cNvSpPr>
            <a:spLocks noGrp="1"/>
          </p:cNvSpPr>
          <p:nvPr>
            <p:ph type="ctrTitle"/>
          </p:nvPr>
        </p:nvSpPr>
        <p:spPr>
          <a:xfrm>
            <a:off x="468314" y="1653779"/>
            <a:ext cx="3024187" cy="1458515"/>
          </a:xfrm>
        </p:spPr>
        <p:txBody>
          <a:bodyPr/>
          <a:lstStyle>
            <a:lvl1pPr>
              <a:lnSpc>
                <a:spcPts val="3500"/>
              </a:lnSpc>
              <a:defRPr sz="3200"/>
            </a:lvl1pPr>
          </a:lstStyle>
          <a:p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4" name="Subtitle 4"/>
          <p:cNvSpPr>
            <a:spLocks noGrp="1"/>
          </p:cNvSpPr>
          <p:nvPr>
            <p:ph type="subTitle" idx="4294967295"/>
          </p:nvPr>
        </p:nvSpPr>
        <p:spPr>
          <a:xfrm>
            <a:off x="468314" y="3233737"/>
            <a:ext cx="2663825" cy="102512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en-GB" altLang="en-US" sz="2000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en-US"/>
              <a:t>Click to edit Master subtitle style</a:t>
            </a:r>
            <a:endParaRPr lang="en-GB" alt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3600450" y="4407694"/>
            <a:ext cx="5183188" cy="66556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en-US" altLang="en-US" sz="1800" b="1" dirty="0" smtClean="0">
                <a:solidFill>
                  <a:srgbClr val="003299"/>
                </a:solidFill>
              </a:defRPr>
            </a:lvl1pPr>
            <a:lvl2pPr>
              <a:defRPr lang="en-US" altLang="en-US" dirty="0" smtClean="0"/>
            </a:lvl2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3370263" y="0"/>
            <a:ext cx="5773737" cy="4340224"/>
          </a:xfrm>
          <a:custGeom>
            <a:avLst/>
            <a:gdLst/>
            <a:ahLst/>
            <a:cxnLst/>
            <a:rect l="l" t="t" r="r" b="b"/>
            <a:pathLst>
              <a:path w="5773737" h="4340224">
                <a:moveTo>
                  <a:pt x="1200952" y="0"/>
                </a:moveTo>
                <a:lnTo>
                  <a:pt x="5773737" y="0"/>
                </a:lnTo>
                <a:lnTo>
                  <a:pt x="5773737" y="4330018"/>
                </a:lnTo>
                <a:lnTo>
                  <a:pt x="5770913" y="4340224"/>
                </a:lnTo>
                <a:lnTo>
                  <a:pt x="0" y="4340224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68313" y="4408884"/>
            <a:ext cx="2543244" cy="66556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en-US" altLang="en-US" sz="1600" b="1" kern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altLang="en-US" kern="1200" dirty="0" smtClean="0"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n-US" altLang="en-US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3177413" y="4931439"/>
            <a:ext cx="384493" cy="14472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1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9D98C6-26D6-459A-841A-186F99F43B1C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0406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Images &amp; Text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/>
          <p:cNvSpPr>
            <a:spLocks noChangeArrowheads="1"/>
          </p:cNvSpPr>
          <p:nvPr userDrawn="1"/>
        </p:nvSpPr>
        <p:spPr bwMode="auto">
          <a:xfrm>
            <a:off x="4022725" y="3706813"/>
            <a:ext cx="4572000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  <a:defRPr/>
            </a:pPr>
            <a:r>
              <a:rPr lang="en-GB" altLang="en-US" sz="1800" dirty="0"/>
              <a:t>Use this type of slide to combine text information with an additional picture.</a:t>
            </a:r>
          </a:p>
          <a:p>
            <a:pPr algn="ctr" eaLnBrk="1" hangingPunct="1">
              <a:spcBef>
                <a:spcPct val="0"/>
              </a:spcBef>
              <a:buClrTx/>
              <a:buFontTx/>
              <a:buNone/>
              <a:defRPr/>
            </a:pPr>
            <a:endParaRPr lang="en-GB" altLang="en-US" sz="1800" dirty="0"/>
          </a:p>
        </p:txBody>
      </p:sp>
      <p:sp>
        <p:nvSpPr>
          <p:cNvPr id="7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34" name="Picture Placeholder 33"/>
          <p:cNvSpPr>
            <a:spLocks noGrp="1"/>
          </p:cNvSpPr>
          <p:nvPr>
            <p:ph type="pic" sz="quarter" idx="25"/>
          </p:nvPr>
        </p:nvSpPr>
        <p:spPr>
          <a:xfrm>
            <a:off x="0" y="1081088"/>
            <a:ext cx="4281488" cy="3651168"/>
          </a:xfrm>
          <a:custGeom>
            <a:avLst/>
            <a:gdLst/>
            <a:ahLst/>
            <a:cxnLst/>
            <a:rect l="l" t="t" r="r" b="b"/>
            <a:pathLst>
              <a:path w="4281488" h="3668712">
                <a:moveTo>
                  <a:pt x="0" y="0"/>
                </a:moveTo>
                <a:lnTo>
                  <a:pt x="4281488" y="0"/>
                </a:lnTo>
                <a:lnTo>
                  <a:pt x="3270391" y="3668712"/>
                </a:lnTo>
                <a:lnTo>
                  <a:pt x="0" y="3668712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6" name="Picture Placeholder 35"/>
          <p:cNvSpPr>
            <a:spLocks noGrp="1"/>
          </p:cNvSpPr>
          <p:nvPr>
            <p:ph type="pic" sz="quarter" idx="26"/>
          </p:nvPr>
        </p:nvSpPr>
        <p:spPr>
          <a:xfrm>
            <a:off x="3667125" y="1081088"/>
            <a:ext cx="3319463" cy="2225675"/>
          </a:xfrm>
          <a:custGeom>
            <a:avLst/>
            <a:gdLst/>
            <a:ahLst/>
            <a:cxnLst/>
            <a:rect l="l" t="t" r="r" b="b"/>
            <a:pathLst>
              <a:path w="3319463" h="2225675">
                <a:moveTo>
                  <a:pt x="611660" y="0"/>
                </a:moveTo>
                <a:lnTo>
                  <a:pt x="3319463" y="0"/>
                </a:lnTo>
                <a:lnTo>
                  <a:pt x="2707803" y="2225675"/>
                </a:lnTo>
                <a:lnTo>
                  <a:pt x="0" y="2225675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27"/>
          </p:nvPr>
        </p:nvSpPr>
        <p:spPr>
          <a:xfrm>
            <a:off x="6372226" y="1081088"/>
            <a:ext cx="2771775" cy="2225675"/>
          </a:xfrm>
          <a:custGeom>
            <a:avLst/>
            <a:gdLst/>
            <a:ahLst/>
            <a:cxnLst/>
            <a:rect l="l" t="t" r="r" b="b"/>
            <a:pathLst>
              <a:path w="2771775" h="2225675">
                <a:moveTo>
                  <a:pt x="601377" y="0"/>
                </a:moveTo>
                <a:lnTo>
                  <a:pt x="2771775" y="0"/>
                </a:lnTo>
                <a:lnTo>
                  <a:pt x="2771775" y="2225675"/>
                </a:lnTo>
                <a:lnTo>
                  <a:pt x="0" y="2225675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28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A03BAC3-5655-4B19-B6D0-8045C16EFFF7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224965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 &amp; 2 Texts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3"/>
          <p:cNvGrpSpPr>
            <a:grpSpLocks/>
          </p:cNvGrpSpPr>
          <p:nvPr userDrawn="1"/>
        </p:nvGrpSpPr>
        <p:grpSpPr bwMode="auto">
          <a:xfrm>
            <a:off x="69850" y="1304925"/>
            <a:ext cx="4718050" cy="2789238"/>
            <a:chOff x="683589" y="1495330"/>
            <a:chExt cx="3582384" cy="2731752"/>
          </a:xfrm>
        </p:grpSpPr>
        <p:sp>
          <p:nvSpPr>
            <p:cNvPr id="8" name="Parallelogram 7"/>
            <p:cNvSpPr/>
            <p:nvPr/>
          </p:nvSpPr>
          <p:spPr bwMode="auto">
            <a:xfrm>
              <a:off x="733010" y="1495330"/>
              <a:ext cx="3532963" cy="2512527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9" name="Parallelogram 8"/>
            <p:cNvSpPr/>
            <p:nvPr/>
          </p:nvSpPr>
          <p:spPr bwMode="auto">
            <a:xfrm>
              <a:off x="683589" y="3788634"/>
              <a:ext cx="3164118" cy="438448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10" name="Group 13"/>
          <p:cNvGrpSpPr>
            <a:grpSpLocks/>
          </p:cNvGrpSpPr>
          <p:nvPr userDrawn="1"/>
        </p:nvGrpSpPr>
        <p:grpSpPr bwMode="auto">
          <a:xfrm>
            <a:off x="4321175" y="1304925"/>
            <a:ext cx="4718050" cy="2789238"/>
            <a:chOff x="683589" y="1495330"/>
            <a:chExt cx="3582384" cy="2731752"/>
          </a:xfrm>
        </p:grpSpPr>
        <p:sp>
          <p:nvSpPr>
            <p:cNvPr id="11" name="Parallelogram 10"/>
            <p:cNvSpPr/>
            <p:nvPr/>
          </p:nvSpPr>
          <p:spPr bwMode="auto">
            <a:xfrm>
              <a:off x="733010" y="1495330"/>
              <a:ext cx="3532963" cy="2512527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12" name="Parallelogram 11"/>
            <p:cNvSpPr/>
            <p:nvPr/>
          </p:nvSpPr>
          <p:spPr bwMode="auto">
            <a:xfrm>
              <a:off x="683589" y="3788634"/>
              <a:ext cx="3164118" cy="438448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18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798513" y="1378791"/>
            <a:ext cx="3363912" cy="2198127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5049838" y="1378791"/>
            <a:ext cx="3363912" cy="2198127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3"/>
          </p:nvPr>
        </p:nvSpPr>
        <p:spPr>
          <a:xfrm>
            <a:off x="233363" y="3727825"/>
            <a:ext cx="3817937" cy="2769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US" sz="1800" kern="120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GB" kern="1200"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24"/>
          </p:nvPr>
        </p:nvSpPr>
        <p:spPr>
          <a:xfrm>
            <a:off x="4463256" y="3727825"/>
            <a:ext cx="3817937" cy="2769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US" sz="1800" kern="120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GB" kern="1200"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5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9CD2E2F-F92A-4B02-9BE7-CCF47B525670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838425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Images &amp; 6 Texts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3"/>
          <p:cNvGrpSpPr>
            <a:grpSpLocks/>
          </p:cNvGrpSpPr>
          <p:nvPr userDrawn="1"/>
        </p:nvGrpSpPr>
        <p:grpSpPr bwMode="auto">
          <a:xfrm>
            <a:off x="5697538" y="2898775"/>
            <a:ext cx="2992437" cy="1770063"/>
            <a:chOff x="683589" y="1495330"/>
            <a:chExt cx="3582384" cy="2731752"/>
          </a:xfrm>
        </p:grpSpPr>
        <p:sp>
          <p:nvSpPr>
            <p:cNvPr id="16" name="Parallelogram 15"/>
            <p:cNvSpPr/>
            <p:nvPr/>
          </p:nvSpPr>
          <p:spPr bwMode="auto">
            <a:xfrm>
              <a:off x="733001" y="1495330"/>
              <a:ext cx="3532972" cy="2513701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17" name="Parallelogram 16"/>
            <p:cNvSpPr/>
            <p:nvPr/>
          </p:nvSpPr>
          <p:spPr bwMode="auto">
            <a:xfrm>
              <a:off x="683589" y="3788531"/>
              <a:ext cx="3164281" cy="438551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18" name="Group 13"/>
          <p:cNvGrpSpPr>
            <a:grpSpLocks/>
          </p:cNvGrpSpPr>
          <p:nvPr userDrawn="1"/>
        </p:nvGrpSpPr>
        <p:grpSpPr bwMode="auto">
          <a:xfrm>
            <a:off x="2927350" y="2905125"/>
            <a:ext cx="2992438" cy="1768475"/>
            <a:chOff x="683589" y="1495330"/>
            <a:chExt cx="3582384" cy="2731752"/>
          </a:xfrm>
        </p:grpSpPr>
        <p:sp>
          <p:nvSpPr>
            <p:cNvPr id="19" name="Parallelogram 18"/>
            <p:cNvSpPr/>
            <p:nvPr/>
          </p:nvSpPr>
          <p:spPr bwMode="auto">
            <a:xfrm>
              <a:off x="733001" y="1495330"/>
              <a:ext cx="3532972" cy="2513507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20" name="Parallelogram 19"/>
            <p:cNvSpPr/>
            <p:nvPr/>
          </p:nvSpPr>
          <p:spPr bwMode="auto">
            <a:xfrm>
              <a:off x="683589" y="3788139"/>
              <a:ext cx="3164281" cy="438943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21" name="Group 13"/>
          <p:cNvGrpSpPr>
            <a:grpSpLocks/>
          </p:cNvGrpSpPr>
          <p:nvPr userDrawn="1"/>
        </p:nvGrpSpPr>
        <p:grpSpPr bwMode="auto">
          <a:xfrm>
            <a:off x="157163" y="2905125"/>
            <a:ext cx="2994025" cy="1768475"/>
            <a:chOff x="683589" y="1495330"/>
            <a:chExt cx="3582384" cy="2731752"/>
          </a:xfrm>
        </p:grpSpPr>
        <p:sp>
          <p:nvSpPr>
            <p:cNvPr id="22" name="Parallelogram 21"/>
            <p:cNvSpPr/>
            <p:nvPr/>
          </p:nvSpPr>
          <p:spPr bwMode="auto">
            <a:xfrm>
              <a:off x="732975" y="1495330"/>
              <a:ext cx="3532998" cy="2513507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23" name="Parallelogram 22"/>
            <p:cNvSpPr/>
            <p:nvPr/>
          </p:nvSpPr>
          <p:spPr bwMode="auto">
            <a:xfrm>
              <a:off x="683589" y="3788139"/>
              <a:ext cx="3164503" cy="438943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24" name="Group 13"/>
          <p:cNvGrpSpPr>
            <a:grpSpLocks/>
          </p:cNvGrpSpPr>
          <p:nvPr userDrawn="1"/>
        </p:nvGrpSpPr>
        <p:grpSpPr bwMode="auto">
          <a:xfrm>
            <a:off x="5913438" y="1106488"/>
            <a:ext cx="2994025" cy="1770062"/>
            <a:chOff x="683589" y="1495330"/>
            <a:chExt cx="3582384" cy="2731752"/>
          </a:xfrm>
        </p:grpSpPr>
        <p:sp>
          <p:nvSpPr>
            <p:cNvPr id="25" name="Parallelogram 24"/>
            <p:cNvSpPr/>
            <p:nvPr/>
          </p:nvSpPr>
          <p:spPr bwMode="auto">
            <a:xfrm>
              <a:off x="732975" y="1495330"/>
              <a:ext cx="3532998" cy="2513703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26" name="Parallelogram 25"/>
            <p:cNvSpPr/>
            <p:nvPr/>
          </p:nvSpPr>
          <p:spPr bwMode="auto">
            <a:xfrm>
              <a:off x="683589" y="3788532"/>
              <a:ext cx="3164503" cy="438550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27" name="Group 13"/>
          <p:cNvGrpSpPr>
            <a:grpSpLocks/>
          </p:cNvGrpSpPr>
          <p:nvPr userDrawn="1"/>
        </p:nvGrpSpPr>
        <p:grpSpPr bwMode="auto">
          <a:xfrm>
            <a:off x="3143250" y="1112838"/>
            <a:ext cx="2994025" cy="1768475"/>
            <a:chOff x="683589" y="1495330"/>
            <a:chExt cx="3582384" cy="2731752"/>
          </a:xfrm>
        </p:grpSpPr>
        <p:sp>
          <p:nvSpPr>
            <p:cNvPr id="28" name="Parallelogram 27"/>
            <p:cNvSpPr/>
            <p:nvPr/>
          </p:nvSpPr>
          <p:spPr bwMode="auto">
            <a:xfrm>
              <a:off x="732975" y="1495330"/>
              <a:ext cx="3532998" cy="2513505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29" name="Parallelogram 28"/>
            <p:cNvSpPr/>
            <p:nvPr/>
          </p:nvSpPr>
          <p:spPr bwMode="auto">
            <a:xfrm>
              <a:off x="683589" y="3788137"/>
              <a:ext cx="3164503" cy="438945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30" name="Group 13"/>
          <p:cNvGrpSpPr>
            <a:grpSpLocks/>
          </p:cNvGrpSpPr>
          <p:nvPr userDrawn="1"/>
        </p:nvGrpSpPr>
        <p:grpSpPr bwMode="auto">
          <a:xfrm>
            <a:off x="373063" y="1112838"/>
            <a:ext cx="2994025" cy="1768475"/>
            <a:chOff x="683589" y="1495330"/>
            <a:chExt cx="3582384" cy="2731752"/>
          </a:xfrm>
        </p:grpSpPr>
        <p:sp>
          <p:nvSpPr>
            <p:cNvPr id="31" name="Parallelogram 30"/>
            <p:cNvSpPr/>
            <p:nvPr/>
          </p:nvSpPr>
          <p:spPr bwMode="auto">
            <a:xfrm>
              <a:off x="732975" y="1495330"/>
              <a:ext cx="3532998" cy="2513505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32" name="Parallelogram 31"/>
            <p:cNvSpPr/>
            <p:nvPr/>
          </p:nvSpPr>
          <p:spPr bwMode="auto">
            <a:xfrm>
              <a:off x="683589" y="3788137"/>
              <a:ext cx="3164503" cy="438945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sp>
        <p:nvSpPr>
          <p:cNvPr id="33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37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589757" y="2922682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3367088" y="2922682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6137276" y="2922682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4" name="Text Placeholder 42"/>
          <p:cNvSpPr>
            <a:spLocks noGrp="1"/>
          </p:cNvSpPr>
          <p:nvPr>
            <p:ph type="body" sz="quarter" idx="25"/>
          </p:nvPr>
        </p:nvSpPr>
        <p:spPr>
          <a:xfrm>
            <a:off x="3348319" y="2650940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42"/>
          <p:cNvSpPr>
            <a:spLocks noGrp="1"/>
          </p:cNvSpPr>
          <p:nvPr>
            <p:ph type="body" sz="quarter" idx="26"/>
          </p:nvPr>
        </p:nvSpPr>
        <p:spPr>
          <a:xfrm>
            <a:off x="6054725" y="2650940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42"/>
          <p:cNvSpPr>
            <a:spLocks noGrp="1"/>
          </p:cNvSpPr>
          <p:nvPr>
            <p:ph type="body" sz="quarter" idx="27"/>
          </p:nvPr>
        </p:nvSpPr>
        <p:spPr>
          <a:xfrm>
            <a:off x="298450" y="4434423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2"/>
          <p:cNvSpPr>
            <a:spLocks noGrp="1"/>
          </p:cNvSpPr>
          <p:nvPr>
            <p:ph type="body" sz="quarter" idx="28"/>
          </p:nvPr>
        </p:nvSpPr>
        <p:spPr>
          <a:xfrm>
            <a:off x="3081619" y="4434423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42"/>
          <p:cNvSpPr>
            <a:spLocks noGrp="1"/>
          </p:cNvSpPr>
          <p:nvPr>
            <p:ph type="body" sz="quarter" idx="29"/>
          </p:nvPr>
        </p:nvSpPr>
        <p:spPr>
          <a:xfrm>
            <a:off x="5788025" y="4434423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Picture Placeholder 2"/>
          <p:cNvSpPr>
            <a:spLocks noGrp="1"/>
          </p:cNvSpPr>
          <p:nvPr>
            <p:ph type="pic" sz="quarter" idx="30"/>
          </p:nvPr>
        </p:nvSpPr>
        <p:spPr>
          <a:xfrm>
            <a:off x="798513" y="1130300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50" name="Picture Placeholder 2"/>
          <p:cNvSpPr>
            <a:spLocks noGrp="1"/>
          </p:cNvSpPr>
          <p:nvPr>
            <p:ph type="pic" sz="quarter" idx="31"/>
          </p:nvPr>
        </p:nvSpPr>
        <p:spPr>
          <a:xfrm>
            <a:off x="3575844" y="1130300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51" name="Picture Placeholder 2"/>
          <p:cNvSpPr>
            <a:spLocks noGrp="1"/>
          </p:cNvSpPr>
          <p:nvPr>
            <p:ph type="pic" sz="quarter" idx="32"/>
          </p:nvPr>
        </p:nvSpPr>
        <p:spPr>
          <a:xfrm>
            <a:off x="6346032" y="1130300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52" name="Text Placeholder 42"/>
          <p:cNvSpPr>
            <a:spLocks noGrp="1"/>
          </p:cNvSpPr>
          <p:nvPr>
            <p:ph type="body" sz="quarter" idx="24"/>
          </p:nvPr>
        </p:nvSpPr>
        <p:spPr>
          <a:xfrm>
            <a:off x="565150" y="2650940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Slide Number Placeholder 5"/>
          <p:cNvSpPr>
            <a:spLocks noGrp="1"/>
          </p:cNvSpPr>
          <p:nvPr>
            <p:ph type="sldNum" sz="quarter" idx="33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A91E1AE-0C8E-4F76-9822-41893C44C1CD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683649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ort Elements - long headline">
    <p:bg>
      <p:bgPr>
        <a:blipFill dpi="0" rotWithShape="0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59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468313" y="1150144"/>
            <a:ext cx="8415711" cy="3351610"/>
          </a:xfrm>
        </p:spPr>
        <p:txBody>
          <a:bodyPr/>
          <a:lstStyle>
            <a:lvl1pPr>
              <a:defRPr sz="1900"/>
            </a:lvl1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 dirty="0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320B71-EC71-4A7E-8C8A-9C555B387A1C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357886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mport Elements - FullPage">
    <p:bg>
      <p:bgPr>
        <a:blipFill dpi="0" rotWithShape="0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59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468313" y="748145"/>
            <a:ext cx="8415711" cy="3753609"/>
          </a:xfrm>
        </p:spPr>
        <p:txBody>
          <a:bodyPr/>
          <a:lstStyle>
            <a:lvl1pPr>
              <a:defRPr sz="1900"/>
            </a:lvl1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126932"/>
            <a:ext cx="8404225" cy="40744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0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320B71-EC71-4A7E-8C8A-9C555B387A1C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951577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ort Elements - Small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 3"/>
          <p:cNvSpPr/>
          <p:nvPr userDrawn="1"/>
        </p:nvSpPr>
        <p:spPr bwMode="auto">
          <a:xfrm>
            <a:off x="3629025" y="1782763"/>
            <a:ext cx="5514975" cy="2697162"/>
          </a:xfrm>
          <a:custGeom>
            <a:avLst/>
            <a:gdLst/>
            <a:ahLst/>
            <a:cxnLst/>
            <a:rect l="l" t="t" r="r" b="b"/>
            <a:pathLst>
              <a:path w="5514975" h="2697162">
                <a:moveTo>
                  <a:pt x="771523" y="0"/>
                </a:moveTo>
                <a:lnTo>
                  <a:pt x="5514975" y="0"/>
                </a:lnTo>
                <a:lnTo>
                  <a:pt x="5514975" y="2658323"/>
                </a:lnTo>
                <a:lnTo>
                  <a:pt x="5503865" y="2697162"/>
                </a:lnTo>
                <a:lnTo>
                  <a:pt x="0" y="2697162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0" sx="102000" sy="102000" algn="ctr" rotWithShape="0">
              <a:prstClr val="black">
                <a:alpha val="10000"/>
              </a:prstClr>
            </a:outerShdw>
          </a:effectLst>
        </p:spPr>
        <p:txBody>
          <a:bodyPr anchor="ctr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GB"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idx="4294967295"/>
          </p:nvPr>
        </p:nvSpPr>
        <p:spPr>
          <a:xfrm>
            <a:off x="4427538" y="2139554"/>
            <a:ext cx="4465450" cy="2283619"/>
          </a:xfrm>
        </p:spPr>
        <p:txBody>
          <a:bodyPr/>
          <a:lstStyle>
            <a:lvl1pPr>
              <a:defRPr sz="1900"/>
            </a:lvl1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5CF0E3E-6A53-407C-B228-D257703978F3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930589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harts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>
          <a:xfrm>
            <a:off x="466725" y="1069892"/>
            <a:ext cx="4023388" cy="33480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9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4660490" y="1059916"/>
            <a:ext cx="4211992" cy="33480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53799" y="4405901"/>
            <a:ext cx="4032250" cy="323850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 marL="300037" indent="0">
              <a:buFontTx/>
              <a:buNone/>
              <a:defRPr sz="1600"/>
            </a:lvl2pPr>
            <a:lvl3pPr marL="598487" indent="0">
              <a:buFontTx/>
              <a:buNone/>
              <a:defRPr sz="1600"/>
            </a:lvl3pPr>
            <a:lvl4pPr marL="915987" indent="0">
              <a:buFontTx/>
              <a:buNone/>
              <a:defRPr sz="1600"/>
            </a:lvl4pPr>
            <a:lvl5pPr marL="1220787" indent="0">
              <a:buFontTx/>
              <a:buNone/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659019" y="4405901"/>
            <a:ext cx="4032250" cy="323850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 marL="300037" indent="0">
              <a:buFontTx/>
              <a:buNone/>
              <a:defRPr sz="1600"/>
            </a:lvl2pPr>
            <a:lvl3pPr marL="598487" indent="0">
              <a:buFontTx/>
              <a:buNone/>
              <a:defRPr sz="1600"/>
            </a:lvl3pPr>
            <a:lvl4pPr marL="915987" indent="0">
              <a:buFontTx/>
              <a:buNone/>
              <a:defRPr sz="1600"/>
            </a:lvl4pPr>
            <a:lvl5pPr marL="1220787" indent="0">
              <a:buFontTx/>
              <a:buNone/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5A8A81F-602E-4F8A-A59F-1CB8EC3665FC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9493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harts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"/>
          <p:cNvCxnSpPr>
            <a:cxnSpLocks noChangeShapeType="1"/>
          </p:cNvCxnSpPr>
          <p:nvPr userDrawn="1"/>
        </p:nvCxnSpPr>
        <p:spPr bwMode="auto">
          <a:xfrm>
            <a:off x="0" y="0"/>
            <a:ext cx="914400" cy="0"/>
          </a:xfrm>
          <a:prstGeom prst="line">
            <a:avLst/>
          </a:prstGeom>
          <a:noFill/>
          <a:ln w="0" algn="ctr">
            <a:solidFill>
              <a:srgbClr val="FB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33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4"/>
          </p:nvPr>
        </p:nvSpPr>
        <p:spPr>
          <a:xfrm>
            <a:off x="457200" y="1107035"/>
            <a:ext cx="4105835" cy="17478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14" name="Chart Placeholder 2"/>
          <p:cNvSpPr>
            <a:spLocks noGrp="1"/>
          </p:cNvSpPr>
          <p:nvPr>
            <p:ph type="chart" sz="quarter" idx="15"/>
          </p:nvPr>
        </p:nvSpPr>
        <p:spPr>
          <a:xfrm>
            <a:off x="4778188" y="1107035"/>
            <a:ext cx="4105835" cy="17478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15" name="Chart Placeholder 2"/>
          <p:cNvSpPr>
            <a:spLocks noGrp="1"/>
          </p:cNvSpPr>
          <p:nvPr>
            <p:ph type="chart" sz="quarter" idx="16"/>
          </p:nvPr>
        </p:nvSpPr>
        <p:spPr>
          <a:xfrm>
            <a:off x="457200" y="2917906"/>
            <a:ext cx="4105835" cy="17478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16" name="Chart Placeholder 2"/>
          <p:cNvSpPr>
            <a:spLocks noGrp="1"/>
          </p:cNvSpPr>
          <p:nvPr>
            <p:ph type="chart" sz="quarter" idx="17"/>
          </p:nvPr>
        </p:nvSpPr>
        <p:spPr>
          <a:xfrm>
            <a:off x="4778188" y="2917906"/>
            <a:ext cx="4105835" cy="17478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538A09-DD14-42AD-BF95-748291479EDB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351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rganization Chart or other visualizations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66726" y="1071563"/>
            <a:ext cx="8397875" cy="3351610"/>
          </a:xfrm>
        </p:spPr>
        <p:txBody>
          <a:bodyPr/>
          <a:lstStyle/>
          <a:p>
            <a:pPr lvl="0"/>
            <a:r>
              <a:rPr lang="en-US" noProof="0"/>
              <a:t>Click icon to add SmartArt graphic</a:t>
            </a:r>
            <a:endParaRPr lang="en-GB" noProof="0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A2AD3AA-77E8-4059-99E1-B20E6EF740D6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972457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-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6372225" y="5003800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pic>
        <p:nvPicPr>
          <p:cNvPr id="8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"/>
          <p:cNvSpPr>
            <a:spLocks noChangeArrowheads="1"/>
          </p:cNvSpPr>
          <p:nvPr userDrawn="1"/>
        </p:nvSpPr>
        <p:spPr bwMode="auto">
          <a:xfrm>
            <a:off x="468313" y="3124200"/>
            <a:ext cx="792162" cy="2698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FontTx/>
              <a:buNone/>
              <a:defRPr/>
            </a:pPr>
            <a:endParaRPr lang="en-GB" altLang="en-US" sz="1800">
              <a:ea typeface="ヒラギノ角ゴ Pro W3"/>
              <a:cs typeface="ヒラギノ角ゴ Pro W3"/>
            </a:endParaRPr>
          </a:p>
        </p:txBody>
      </p:sp>
      <p:pic>
        <p:nvPicPr>
          <p:cNvPr id="10" name="Picture 2" descr="C:\Users\kourent\Desktop\_PROJECTS_\VisualBranding_OfficeDocuments\PPT\Output\02\logo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313" y="335624"/>
            <a:ext cx="1765542" cy="766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 2"/>
          <p:cNvSpPr>
            <a:spLocks noGrp="1"/>
          </p:cNvSpPr>
          <p:nvPr>
            <p:ph type="ctrTitle"/>
          </p:nvPr>
        </p:nvSpPr>
        <p:spPr>
          <a:xfrm>
            <a:off x="468314" y="1653779"/>
            <a:ext cx="3024187" cy="1458515"/>
          </a:xfrm>
        </p:spPr>
        <p:txBody>
          <a:bodyPr/>
          <a:lstStyle>
            <a:lvl1pPr>
              <a:lnSpc>
                <a:spcPts val="3500"/>
              </a:lnSpc>
              <a:defRPr sz="3200"/>
            </a:lvl1pPr>
          </a:lstStyle>
          <a:p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4" name="Subtitle 4"/>
          <p:cNvSpPr>
            <a:spLocks noGrp="1"/>
          </p:cNvSpPr>
          <p:nvPr>
            <p:ph type="subTitle" idx="4294967295"/>
          </p:nvPr>
        </p:nvSpPr>
        <p:spPr>
          <a:xfrm>
            <a:off x="468314" y="3233737"/>
            <a:ext cx="2663825" cy="102512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en-GB" altLang="en-US" sz="2000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en-US"/>
              <a:t>Click to edit Master subtitle style</a:t>
            </a:r>
            <a:endParaRPr lang="en-GB" alt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3600450" y="4407694"/>
            <a:ext cx="5183188" cy="66556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en-US" altLang="en-US" sz="1800" b="1" dirty="0" smtClean="0">
                <a:solidFill>
                  <a:srgbClr val="003299"/>
                </a:solidFill>
              </a:defRPr>
            </a:lvl1pPr>
            <a:lvl2pPr>
              <a:defRPr lang="en-US" altLang="en-US" dirty="0" smtClean="0"/>
            </a:lvl2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3370263" y="0"/>
            <a:ext cx="5773737" cy="4340224"/>
          </a:xfrm>
          <a:custGeom>
            <a:avLst/>
            <a:gdLst/>
            <a:ahLst/>
            <a:cxnLst/>
            <a:rect l="l" t="t" r="r" b="b"/>
            <a:pathLst>
              <a:path w="5773737" h="4340224">
                <a:moveTo>
                  <a:pt x="1200952" y="0"/>
                </a:moveTo>
                <a:lnTo>
                  <a:pt x="5773737" y="0"/>
                </a:lnTo>
                <a:lnTo>
                  <a:pt x="5773737" y="4330018"/>
                </a:lnTo>
                <a:lnTo>
                  <a:pt x="5770913" y="4340224"/>
                </a:lnTo>
                <a:lnTo>
                  <a:pt x="0" y="4340224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68313" y="4408884"/>
            <a:ext cx="2543244" cy="66556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en-US" altLang="en-US" sz="1600" b="1" kern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altLang="en-US" kern="1200" dirty="0" smtClean="0"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n-US" altLang="en-US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3177413" y="4931439"/>
            <a:ext cx="384493" cy="14472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1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9D98C6-26D6-459A-841A-186F99F43B1C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27265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- Text (NO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6372225" y="5003800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195FB5"/>
          </a:solidFill>
          <a:ln w="9525" algn="ctr">
            <a:noFill/>
            <a:round/>
            <a:headEnd/>
            <a:tailEnd/>
          </a:ln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en-GB" altLang="en-US">
              <a:ea typeface="ヒラギノ角ゴ Pro W3"/>
              <a:cs typeface="ヒラギノ角ゴ Pro W3"/>
            </a:endParaRP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ubtitle 4"/>
          <p:cNvSpPr txBox="1">
            <a:spLocks/>
          </p:cNvSpPr>
          <p:nvPr userDrawn="1"/>
        </p:nvSpPr>
        <p:spPr bwMode="auto">
          <a:xfrm>
            <a:off x="4592638" y="3227388"/>
            <a:ext cx="4191000" cy="1309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96900" indent="-29686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indent="-3159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192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5240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812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4384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956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528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30000"/>
              </a:spcBef>
              <a:buClr>
                <a:schemeClr val="tx2"/>
              </a:buClr>
              <a:defRPr/>
            </a:pPr>
            <a:endParaRPr lang="en-GB" altLang="en-US" sz="2000">
              <a:solidFill>
                <a:schemeClr val="bg1"/>
              </a:solidFill>
            </a:endParaRPr>
          </a:p>
        </p:txBody>
      </p:sp>
      <p:sp>
        <p:nvSpPr>
          <p:cNvPr id="11" name="Rectangle 1"/>
          <p:cNvSpPr>
            <a:spLocks noChangeArrowheads="1"/>
          </p:cNvSpPr>
          <p:nvPr userDrawn="1"/>
        </p:nvSpPr>
        <p:spPr bwMode="auto">
          <a:xfrm>
            <a:off x="468313" y="3124200"/>
            <a:ext cx="792162" cy="2698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FontTx/>
              <a:buNone/>
              <a:defRPr/>
            </a:pPr>
            <a:endParaRPr lang="en-GB" altLang="en-US" sz="1800">
              <a:ea typeface="ヒラギノ角ゴ Pro W3"/>
              <a:cs typeface="ヒラギノ角ゴ Pro W3"/>
            </a:endParaRPr>
          </a:p>
        </p:txBody>
      </p:sp>
      <p:pic>
        <p:nvPicPr>
          <p:cNvPr id="12" name="Picture 2" descr="C:\Users\kourent\Desktop\_PROJECTS_\VisualBranding_OfficeDocuments\PPT\Output\02\logo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313" y="335624"/>
            <a:ext cx="1765542" cy="766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ubtitle 4"/>
          <p:cNvSpPr>
            <a:spLocks noGrp="1"/>
          </p:cNvSpPr>
          <p:nvPr>
            <p:ph type="subTitle" idx="4294967295"/>
          </p:nvPr>
        </p:nvSpPr>
        <p:spPr>
          <a:xfrm>
            <a:off x="468314" y="3233737"/>
            <a:ext cx="2663825" cy="102512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en-GB" altLang="en-US" sz="2000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en-US"/>
              <a:t>Click to edit Master subtitle style</a:t>
            </a:r>
            <a:endParaRPr lang="en-GB" alt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3600450" y="4407694"/>
            <a:ext cx="5183188" cy="66556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en-US" altLang="en-US" sz="1800" b="1" dirty="0" smtClean="0">
                <a:solidFill>
                  <a:srgbClr val="003299"/>
                </a:solidFill>
              </a:defRPr>
            </a:lvl1pPr>
            <a:lvl2pPr>
              <a:defRPr lang="en-US" altLang="en-US" dirty="0" smtClean="0"/>
            </a:lvl2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86275" y="1638300"/>
            <a:ext cx="4297363" cy="245745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2"/>
          <p:cNvSpPr>
            <a:spLocks noGrp="1"/>
          </p:cNvSpPr>
          <p:nvPr>
            <p:ph type="ctrTitle"/>
          </p:nvPr>
        </p:nvSpPr>
        <p:spPr>
          <a:xfrm>
            <a:off x="468314" y="1653779"/>
            <a:ext cx="3024187" cy="1458515"/>
          </a:xfrm>
        </p:spPr>
        <p:txBody>
          <a:bodyPr/>
          <a:lstStyle>
            <a:lvl1pPr>
              <a:lnSpc>
                <a:spcPts val="3500"/>
              </a:lnSpc>
              <a:defRPr sz="3200"/>
            </a:lvl1pPr>
          </a:lstStyle>
          <a:p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68313" y="4408884"/>
            <a:ext cx="2543244" cy="66556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en-US" altLang="en-US" sz="1600" b="1" kern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altLang="en-US" kern="1200" dirty="0" smtClean="0"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n-US" alt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68447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- Text (NO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6372225" y="5003800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195FB5"/>
          </a:solidFill>
          <a:ln w="9525" algn="ctr">
            <a:noFill/>
            <a:round/>
            <a:headEnd/>
            <a:tailEnd/>
          </a:ln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en-GB" altLang="en-US">
              <a:ea typeface="ヒラギノ角ゴ Pro W3"/>
              <a:cs typeface="ヒラギノ角ゴ Pro W3"/>
            </a:endParaRP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ubtitle 4"/>
          <p:cNvSpPr txBox="1">
            <a:spLocks/>
          </p:cNvSpPr>
          <p:nvPr userDrawn="1"/>
        </p:nvSpPr>
        <p:spPr bwMode="auto">
          <a:xfrm>
            <a:off x="4592638" y="3227388"/>
            <a:ext cx="4191000" cy="1309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96900" indent="-29686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indent="-3159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192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5240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812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4384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956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528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30000"/>
              </a:spcBef>
              <a:buClr>
                <a:schemeClr val="tx2"/>
              </a:buClr>
              <a:defRPr/>
            </a:pPr>
            <a:endParaRPr lang="en-GB" altLang="en-US" sz="2000">
              <a:solidFill>
                <a:schemeClr val="bg1"/>
              </a:solidFill>
            </a:endParaRPr>
          </a:p>
        </p:txBody>
      </p:sp>
      <p:sp>
        <p:nvSpPr>
          <p:cNvPr id="11" name="Rectangle 1"/>
          <p:cNvSpPr>
            <a:spLocks noChangeArrowheads="1"/>
          </p:cNvSpPr>
          <p:nvPr userDrawn="1"/>
        </p:nvSpPr>
        <p:spPr bwMode="auto">
          <a:xfrm>
            <a:off x="468313" y="3124200"/>
            <a:ext cx="792162" cy="2698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FontTx/>
              <a:buNone/>
              <a:defRPr/>
            </a:pPr>
            <a:endParaRPr lang="en-GB" altLang="en-US" sz="1800">
              <a:ea typeface="ヒラギノ角ゴ Pro W3"/>
              <a:cs typeface="ヒラギノ角ゴ Pro W3"/>
            </a:endParaRPr>
          </a:p>
        </p:txBody>
      </p:sp>
      <p:pic>
        <p:nvPicPr>
          <p:cNvPr id="12" name="Picture 2" descr="C:\Users\kourent\Desktop\_PROJECTS_\VisualBranding_OfficeDocuments\PPT\Output\02\logo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313" y="335624"/>
            <a:ext cx="1765542" cy="766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ubtitle 4"/>
          <p:cNvSpPr>
            <a:spLocks noGrp="1"/>
          </p:cNvSpPr>
          <p:nvPr>
            <p:ph type="subTitle" idx="4294967295"/>
          </p:nvPr>
        </p:nvSpPr>
        <p:spPr>
          <a:xfrm>
            <a:off x="468314" y="3233737"/>
            <a:ext cx="2663825" cy="102512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en-GB" altLang="en-US" sz="2000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en-US"/>
              <a:t>Click to edit Master subtitle style</a:t>
            </a:r>
            <a:endParaRPr lang="en-GB" alt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3600450" y="4407694"/>
            <a:ext cx="5183188" cy="66556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en-US" altLang="en-US" sz="1800" b="1" dirty="0" smtClean="0">
                <a:solidFill>
                  <a:srgbClr val="003299"/>
                </a:solidFill>
              </a:defRPr>
            </a:lvl1pPr>
            <a:lvl2pPr>
              <a:defRPr lang="en-US" altLang="en-US" dirty="0" smtClean="0"/>
            </a:lvl2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86275" y="1638300"/>
            <a:ext cx="4297363" cy="245745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2"/>
          <p:cNvSpPr>
            <a:spLocks noGrp="1"/>
          </p:cNvSpPr>
          <p:nvPr>
            <p:ph type="ctrTitle"/>
          </p:nvPr>
        </p:nvSpPr>
        <p:spPr>
          <a:xfrm>
            <a:off x="468314" y="1653779"/>
            <a:ext cx="3024187" cy="1458515"/>
          </a:xfrm>
        </p:spPr>
        <p:txBody>
          <a:bodyPr/>
          <a:lstStyle>
            <a:lvl1pPr>
              <a:lnSpc>
                <a:spcPts val="3500"/>
              </a:lnSpc>
              <a:defRPr sz="3200"/>
            </a:lvl1pPr>
          </a:lstStyle>
          <a:p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68313" y="4408884"/>
            <a:ext cx="2543244" cy="66556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en-US" altLang="en-US" sz="1600" b="1" kern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altLang="en-US" kern="1200" dirty="0" smtClean="0"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n-US" alt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57950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ridge">
    <p:bg>
      <p:bgPr>
        <a:blipFill dpi="0" rotWithShape="0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0"/>
          <p:cNvGrpSpPr>
            <a:grpSpLocks/>
          </p:cNvGrpSpPr>
          <p:nvPr userDrawn="1"/>
        </p:nvGrpSpPr>
        <p:grpSpPr bwMode="auto">
          <a:xfrm>
            <a:off x="525463" y="1116013"/>
            <a:ext cx="7999412" cy="2686050"/>
            <a:chOff x="318484" y="1489075"/>
            <a:chExt cx="8527332" cy="3581400"/>
          </a:xfrm>
        </p:grpSpPr>
        <p:sp>
          <p:nvSpPr>
            <p:cNvPr id="4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18484" y="1489075"/>
              <a:ext cx="382452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1</a:t>
              </a:r>
            </a:p>
          </p:txBody>
        </p:sp>
        <p:sp>
          <p:nvSpPr>
            <p:cNvPr id="5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18484" y="1946275"/>
              <a:ext cx="382452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6" name="Rectangle 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18484" y="2403475"/>
              <a:ext cx="382452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3</a:t>
              </a:r>
            </a:p>
          </p:txBody>
        </p:sp>
        <p:sp>
          <p:nvSpPr>
            <p:cNvPr id="7" name="Rectangle 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821087" y="19462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Double entry system</a:t>
              </a:r>
            </a:p>
          </p:txBody>
        </p:sp>
        <p:sp>
          <p:nvSpPr>
            <p:cNvPr id="8" name="Rectangle 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821087" y="24034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Time of recording the transactions</a:t>
              </a:r>
            </a:p>
          </p:txBody>
        </p:sp>
        <p:sp>
          <p:nvSpPr>
            <p:cNvPr id="9" name="Rectangle 1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821087" y="14890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dirty="0"/>
                <a:t>Definition of </a:t>
              </a:r>
              <a:r>
                <a:rPr lang="en-GB" altLang="en-US" sz="1800" dirty="0" err="1"/>
                <a:t>b.o.p</a:t>
              </a:r>
              <a:r>
                <a:rPr lang="en-GB" altLang="en-US" sz="1800" dirty="0"/>
                <a:t>. and </a:t>
              </a:r>
              <a:r>
                <a:rPr lang="en-GB" altLang="en-US" sz="1800" dirty="0" err="1"/>
                <a:t>i.i.p</a:t>
              </a:r>
              <a:r>
                <a:rPr lang="en-GB" altLang="en-US" sz="1800" dirty="0"/>
                <a:t>.</a:t>
              </a:r>
            </a:p>
          </p:txBody>
        </p:sp>
        <p:sp>
          <p:nvSpPr>
            <p:cNvPr id="10" name="Rectangle 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18484" y="2871258"/>
              <a:ext cx="380760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4</a:t>
              </a:r>
            </a:p>
          </p:txBody>
        </p:sp>
        <p:sp>
          <p:nvSpPr>
            <p:cNvPr id="11" name="Rectangle 1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18484" y="3328458"/>
              <a:ext cx="380760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5</a:t>
              </a:r>
            </a:p>
          </p:txBody>
        </p:sp>
        <p:sp>
          <p:nvSpPr>
            <p:cNvPr id="12" name="Rectangle 1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18484" y="3785658"/>
              <a:ext cx="380760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6</a:t>
              </a:r>
            </a:p>
          </p:txBody>
        </p:sp>
        <p:sp>
          <p:nvSpPr>
            <p:cNvPr id="13" name="Rectangle 1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821087" y="3328458"/>
              <a:ext cx="8024729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Reconciliation flows and stocks</a:t>
              </a:r>
            </a:p>
          </p:txBody>
        </p:sp>
        <p:sp>
          <p:nvSpPr>
            <p:cNvPr id="14" name="Rectangle 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821087" y="3785658"/>
              <a:ext cx="8024729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Euro area residency</a:t>
              </a:r>
            </a:p>
          </p:txBody>
        </p:sp>
        <p:sp>
          <p:nvSpPr>
            <p:cNvPr id="15" name="Rectangle 1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821087" y="2871258"/>
              <a:ext cx="8024729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Valuation of transactions and stocks</a:t>
              </a:r>
            </a:p>
          </p:txBody>
        </p:sp>
        <p:sp>
          <p:nvSpPr>
            <p:cNvPr id="16" name="Rectangle 2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18484" y="4232275"/>
              <a:ext cx="380760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7</a:t>
              </a:r>
            </a:p>
          </p:txBody>
        </p:sp>
        <p:sp>
          <p:nvSpPr>
            <p:cNvPr id="17" name="Rectangle 2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318484" y="4689475"/>
              <a:ext cx="380760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8</a:t>
              </a:r>
            </a:p>
          </p:txBody>
        </p:sp>
        <p:sp>
          <p:nvSpPr>
            <p:cNvPr id="18" name="Rectangle 2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821087" y="42322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Standards components</a:t>
              </a:r>
            </a:p>
          </p:txBody>
        </p:sp>
        <p:sp>
          <p:nvSpPr>
            <p:cNvPr id="19" name="Rectangle 2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821087" y="46894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Classification of transactions</a:t>
              </a:r>
            </a:p>
          </p:txBody>
        </p:sp>
      </p:grpSp>
      <p:sp>
        <p:nvSpPr>
          <p:cNvPr id="20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27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CAD61C4-D565-481A-81FB-FD2D5DA6A43C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404255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able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 3"/>
          <p:cNvSpPr/>
          <p:nvPr userDrawn="1"/>
        </p:nvSpPr>
        <p:spPr bwMode="auto">
          <a:xfrm>
            <a:off x="3629025" y="1782763"/>
            <a:ext cx="5514975" cy="2697162"/>
          </a:xfrm>
          <a:custGeom>
            <a:avLst/>
            <a:gdLst/>
            <a:ahLst/>
            <a:cxnLst/>
            <a:rect l="l" t="t" r="r" b="b"/>
            <a:pathLst>
              <a:path w="5514975" h="2697162">
                <a:moveTo>
                  <a:pt x="771523" y="0"/>
                </a:moveTo>
                <a:lnTo>
                  <a:pt x="5514975" y="0"/>
                </a:lnTo>
                <a:lnTo>
                  <a:pt x="5514975" y="2658323"/>
                </a:lnTo>
                <a:lnTo>
                  <a:pt x="5503865" y="2697162"/>
                </a:lnTo>
                <a:lnTo>
                  <a:pt x="0" y="2697162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0" sx="102000" sy="102000" algn="ctr" rotWithShape="0">
              <a:prstClr val="black">
                <a:alpha val="10000"/>
              </a:prstClr>
            </a:outerShdw>
          </a:effectLst>
        </p:spPr>
        <p:txBody>
          <a:bodyPr anchor="ctr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GB"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idx="4294967295"/>
          </p:nvPr>
        </p:nvSpPr>
        <p:spPr>
          <a:xfrm>
            <a:off x="4816475" y="2556272"/>
            <a:ext cx="4076700" cy="18514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F779A3-FBD7-43A9-A418-08688450EED9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64185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- Text &amp;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725988" y="1471613"/>
            <a:ext cx="3835400" cy="1808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  <a:defRPr/>
            </a:pPr>
            <a:endParaRPr lang="en-GB" altLang="en-US" sz="3500" dirty="0">
              <a:solidFill>
                <a:srgbClr val="FFFFFF"/>
              </a:solidFill>
            </a:endParaRPr>
          </a:p>
        </p:txBody>
      </p:sp>
      <p:sp>
        <p:nvSpPr>
          <p:cNvPr id="8" name="Rectangle 1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725988" y="3400425"/>
            <a:ext cx="3949700" cy="65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None/>
              <a:defRPr/>
            </a:pPr>
            <a:endParaRPr lang="en-GB" altLang="en-US" sz="2000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11" name="Rectangle 1"/>
          <p:cNvSpPr>
            <a:spLocks noChangeArrowheads="1"/>
          </p:cNvSpPr>
          <p:nvPr userDrawn="1"/>
        </p:nvSpPr>
        <p:spPr bwMode="auto">
          <a:xfrm>
            <a:off x="4816475" y="3443288"/>
            <a:ext cx="790575" cy="25400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FontTx/>
              <a:buNone/>
              <a:defRPr/>
            </a:pPr>
            <a:endParaRPr lang="en-GB" altLang="en-US" sz="1800">
              <a:ea typeface="ヒラギノ角ゴ Pro W3"/>
              <a:cs typeface="ヒラギノ角ゴ Pro W3"/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1" y="-3175"/>
            <a:ext cx="4621213" cy="5141913"/>
          </a:xfrm>
          <a:custGeom>
            <a:avLst/>
            <a:gdLst/>
            <a:ahLst/>
            <a:cxnLst/>
            <a:rect l="l" t="t" r="r" b="b"/>
            <a:pathLst>
              <a:path w="4621213" h="5141913">
                <a:moveTo>
                  <a:pt x="0" y="0"/>
                </a:moveTo>
                <a:lnTo>
                  <a:pt x="4621213" y="0"/>
                </a:lnTo>
                <a:lnTo>
                  <a:pt x="3184409" y="5141913"/>
                </a:lnTo>
                <a:lnTo>
                  <a:pt x="0" y="5141913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4816475" y="907256"/>
            <a:ext cx="3968750" cy="1128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z="6000" kern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4811713" y="2137569"/>
            <a:ext cx="3968750" cy="126285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z="3200" kern="1200" smtClean="0">
                <a:solidFill>
                  <a:schemeClr val="bg1"/>
                </a:solidFill>
                <a:ea typeface="+mj-ea"/>
                <a:cs typeface="+mj-cs"/>
              </a:defRPr>
            </a:lvl1pPr>
            <a:lvl2pPr>
              <a:defRPr lang="en-US" smtClean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4811713" y="3565525"/>
            <a:ext cx="3968750" cy="1128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>
              <a:defRPr lang="en-US" sz="2000" kern="12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97FC801-E2EE-42B2-BFDF-F67C23A6F660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246493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- Text (NO Imag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53975" y="0"/>
            <a:ext cx="9197975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725988" y="1471613"/>
            <a:ext cx="3835400" cy="1808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  <a:defRPr/>
            </a:pPr>
            <a:endParaRPr lang="en-GB" altLang="en-US" sz="3500" dirty="0">
              <a:solidFill>
                <a:srgbClr val="FFFFFF"/>
              </a:solidFill>
            </a:endParaRPr>
          </a:p>
        </p:txBody>
      </p:sp>
      <p:sp>
        <p:nvSpPr>
          <p:cNvPr id="8" name="Rectangle 1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725988" y="3400425"/>
            <a:ext cx="3949700" cy="65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None/>
              <a:defRPr/>
            </a:pPr>
            <a:endParaRPr lang="en-GB" altLang="en-US" sz="2000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10" name="Rectangle 1"/>
          <p:cNvSpPr>
            <a:spLocks noChangeArrowheads="1"/>
          </p:cNvSpPr>
          <p:nvPr userDrawn="1"/>
        </p:nvSpPr>
        <p:spPr bwMode="auto">
          <a:xfrm>
            <a:off x="4816475" y="3443288"/>
            <a:ext cx="790575" cy="25400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FontTx/>
              <a:buNone/>
              <a:defRPr/>
            </a:pPr>
            <a:endParaRPr lang="en-GB" altLang="en-US" sz="1800">
              <a:ea typeface="ヒラギノ角ゴ Pro W3"/>
              <a:cs typeface="ヒラギノ角ゴ Pro W3"/>
            </a:endParaRPr>
          </a:p>
        </p:txBody>
      </p:sp>
      <p:sp>
        <p:nvSpPr>
          <p:cNvPr id="11" name="Parallelogram 10"/>
          <p:cNvSpPr/>
          <p:nvPr userDrawn="1"/>
        </p:nvSpPr>
        <p:spPr bwMode="auto">
          <a:xfrm>
            <a:off x="0" y="0"/>
            <a:ext cx="4591050" cy="5143500"/>
          </a:xfrm>
          <a:custGeom>
            <a:avLst/>
            <a:gdLst/>
            <a:ahLst/>
            <a:cxnLst/>
            <a:rect l="l" t="t" r="r" b="b"/>
            <a:pathLst>
              <a:path w="4591751" h="5143500">
                <a:moveTo>
                  <a:pt x="0" y="0"/>
                </a:moveTo>
                <a:lnTo>
                  <a:pt x="4591751" y="0"/>
                </a:lnTo>
                <a:lnTo>
                  <a:pt x="3154503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0" sx="102000" sy="102000" algn="ctr" rotWithShape="0">
              <a:prstClr val="black">
                <a:alpha val="10000"/>
              </a:prstClr>
            </a:outerShdw>
          </a:effectLst>
        </p:spPr>
        <p:txBody>
          <a:bodyPr anchor="ctr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GB"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4816475" y="907256"/>
            <a:ext cx="3968750" cy="1128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z="6000" kern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4811713" y="2137569"/>
            <a:ext cx="3968750" cy="126285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z="3200" kern="1200" smtClean="0">
                <a:solidFill>
                  <a:schemeClr val="bg1"/>
                </a:solidFill>
                <a:ea typeface="+mj-ea"/>
                <a:cs typeface="+mj-cs"/>
              </a:defRPr>
            </a:lvl1pPr>
            <a:lvl2pPr>
              <a:defRPr lang="en-US" smtClean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4811713" y="3565525"/>
            <a:ext cx="3968750" cy="1128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>
              <a:defRPr lang="en-US" sz="2000" kern="12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0" y="831850"/>
            <a:ext cx="3881438" cy="40290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/>
          <a:lstStyle>
            <a:lvl1pPr algn="r">
              <a:defRPr lang="en-US" sz="30000" b="1" kern="1200" smtClean="0">
                <a:solidFill>
                  <a:srgbClr val="003299"/>
                </a:solidFill>
                <a:cs typeface="Arial" pitchFamily="34" charset="0"/>
              </a:defRPr>
            </a:lvl1pPr>
            <a:lvl2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GB" kern="1200"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89EFBB2-B333-479B-84A0-F406AA2E2D12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096046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Full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>
            <a:spLocks noChangeArrowheads="1"/>
          </p:cNvSpPr>
          <p:nvPr userDrawn="1"/>
        </p:nvSpPr>
        <p:spPr bwMode="auto">
          <a:xfrm>
            <a:off x="468313" y="1222375"/>
            <a:ext cx="8194675" cy="327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98450" indent="-298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96900" indent="-29686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indent="-3159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192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5240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812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4384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956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528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buClr>
                <a:schemeClr val="tx2"/>
              </a:buClr>
              <a:buFontTx/>
              <a:buChar char="•"/>
              <a:defRPr/>
            </a:pPr>
            <a:endParaRPr lang="en-US" altLang="en-US" sz="2200">
              <a:solidFill>
                <a:schemeClr val="tx2"/>
              </a:solidFill>
            </a:endParaRPr>
          </a:p>
        </p:txBody>
      </p:sp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2AD2B4C-24FD-485E-ADAD-B1E3DC73B16B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840493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Placeholder (With Image)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 3"/>
          <p:cNvSpPr/>
          <p:nvPr userDrawn="1"/>
        </p:nvSpPr>
        <p:spPr bwMode="auto">
          <a:xfrm>
            <a:off x="0" y="1109663"/>
            <a:ext cx="8197850" cy="3613150"/>
          </a:xfrm>
          <a:custGeom>
            <a:avLst/>
            <a:gdLst/>
            <a:ahLst/>
            <a:cxnLst/>
            <a:rect l="l" t="t" r="r" b="b"/>
            <a:pathLst>
              <a:path w="8197850" h="3613150">
                <a:moveTo>
                  <a:pt x="433207" y="0"/>
                </a:moveTo>
                <a:lnTo>
                  <a:pt x="8197850" y="0"/>
                </a:lnTo>
                <a:lnTo>
                  <a:pt x="7269343" y="3613150"/>
                </a:lnTo>
                <a:lnTo>
                  <a:pt x="0" y="3613150"/>
                </a:lnTo>
                <a:lnTo>
                  <a:pt x="0" y="1685762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0" sx="102000" sy="102000" algn="ctr" rotWithShape="0">
              <a:prstClr val="black">
                <a:alpha val="10000"/>
              </a:prstClr>
            </a:outerShdw>
          </a:effectLst>
        </p:spPr>
        <p:txBody>
          <a:bodyPr anchor="ctr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GB"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 userDrawn="1"/>
        </p:nvSpPr>
        <p:spPr bwMode="auto">
          <a:xfrm>
            <a:off x="971550" y="1492250"/>
            <a:ext cx="2160588" cy="280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96900" indent="-29686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indent="-3159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192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5240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812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4384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956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528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buClr>
                <a:schemeClr val="tx2"/>
              </a:buClr>
              <a:defRPr/>
            </a:pPr>
            <a:endParaRPr lang="en-GB" altLang="en-US" sz="2000"/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3286126" y="1"/>
            <a:ext cx="5857875" cy="4721225"/>
          </a:xfrm>
          <a:custGeom>
            <a:avLst/>
            <a:gdLst/>
            <a:ahLst/>
            <a:cxnLst/>
            <a:rect l="l" t="t" r="r" b="b"/>
            <a:pathLst>
              <a:path w="5857875" h="4721225">
                <a:moveTo>
                  <a:pt x="1190458" y="0"/>
                </a:moveTo>
                <a:lnTo>
                  <a:pt x="5857875" y="0"/>
                </a:lnTo>
                <a:lnTo>
                  <a:pt x="5857875" y="4721225"/>
                </a:lnTo>
                <a:lnTo>
                  <a:pt x="0" y="4721225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AAA2B01-B512-4650-90E0-024ED79178B0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540959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3286126" y="1"/>
            <a:ext cx="5857875" cy="4721225"/>
          </a:xfrm>
          <a:custGeom>
            <a:avLst/>
            <a:gdLst/>
            <a:ahLst/>
            <a:cxnLst/>
            <a:rect l="l" t="t" r="r" b="b"/>
            <a:pathLst>
              <a:path w="5857875" h="4721225">
                <a:moveTo>
                  <a:pt x="1190458" y="0"/>
                </a:moveTo>
                <a:lnTo>
                  <a:pt x="5857875" y="0"/>
                </a:lnTo>
                <a:lnTo>
                  <a:pt x="5857875" y="4721225"/>
                </a:lnTo>
                <a:lnTo>
                  <a:pt x="0" y="4721225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0" y="1074738"/>
            <a:ext cx="4222750" cy="3646487"/>
          </a:xfrm>
          <a:custGeom>
            <a:avLst/>
            <a:gdLst/>
            <a:ahLst/>
            <a:cxnLst/>
            <a:rect l="l" t="t" r="r" b="b"/>
            <a:pathLst>
              <a:path w="4222750" h="3646487">
                <a:moveTo>
                  <a:pt x="0" y="0"/>
                </a:moveTo>
                <a:lnTo>
                  <a:pt x="4222750" y="0"/>
                </a:lnTo>
                <a:lnTo>
                  <a:pt x="3293625" y="3646487"/>
                </a:lnTo>
                <a:lnTo>
                  <a:pt x="0" y="3646487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D9341D4-07C6-4282-AE38-5248E8AD561A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788041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Images &amp; Text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/>
          <p:cNvSpPr>
            <a:spLocks noChangeArrowheads="1"/>
          </p:cNvSpPr>
          <p:nvPr userDrawn="1"/>
        </p:nvSpPr>
        <p:spPr bwMode="auto">
          <a:xfrm>
            <a:off x="4022725" y="3706813"/>
            <a:ext cx="4572000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  <a:defRPr/>
            </a:pPr>
            <a:r>
              <a:rPr lang="en-GB" altLang="en-US" sz="1800" dirty="0"/>
              <a:t>Use this type of slide to combine text information with an additional picture.</a:t>
            </a:r>
          </a:p>
          <a:p>
            <a:pPr algn="ctr" eaLnBrk="1" hangingPunct="1">
              <a:spcBef>
                <a:spcPct val="0"/>
              </a:spcBef>
              <a:buClrTx/>
              <a:buFontTx/>
              <a:buNone/>
              <a:defRPr/>
            </a:pPr>
            <a:endParaRPr lang="en-GB" altLang="en-US" sz="1800" dirty="0"/>
          </a:p>
        </p:txBody>
      </p:sp>
      <p:sp>
        <p:nvSpPr>
          <p:cNvPr id="7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34" name="Picture Placeholder 33"/>
          <p:cNvSpPr>
            <a:spLocks noGrp="1"/>
          </p:cNvSpPr>
          <p:nvPr>
            <p:ph type="pic" sz="quarter" idx="25"/>
          </p:nvPr>
        </p:nvSpPr>
        <p:spPr>
          <a:xfrm>
            <a:off x="0" y="1081088"/>
            <a:ext cx="4281488" cy="3651168"/>
          </a:xfrm>
          <a:custGeom>
            <a:avLst/>
            <a:gdLst/>
            <a:ahLst/>
            <a:cxnLst/>
            <a:rect l="l" t="t" r="r" b="b"/>
            <a:pathLst>
              <a:path w="4281488" h="3668712">
                <a:moveTo>
                  <a:pt x="0" y="0"/>
                </a:moveTo>
                <a:lnTo>
                  <a:pt x="4281488" y="0"/>
                </a:lnTo>
                <a:lnTo>
                  <a:pt x="3270391" y="3668712"/>
                </a:lnTo>
                <a:lnTo>
                  <a:pt x="0" y="3668712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6" name="Picture Placeholder 35"/>
          <p:cNvSpPr>
            <a:spLocks noGrp="1"/>
          </p:cNvSpPr>
          <p:nvPr>
            <p:ph type="pic" sz="quarter" idx="26"/>
          </p:nvPr>
        </p:nvSpPr>
        <p:spPr>
          <a:xfrm>
            <a:off x="3667125" y="1081088"/>
            <a:ext cx="3319463" cy="2225675"/>
          </a:xfrm>
          <a:custGeom>
            <a:avLst/>
            <a:gdLst/>
            <a:ahLst/>
            <a:cxnLst/>
            <a:rect l="l" t="t" r="r" b="b"/>
            <a:pathLst>
              <a:path w="3319463" h="2225675">
                <a:moveTo>
                  <a:pt x="611660" y="0"/>
                </a:moveTo>
                <a:lnTo>
                  <a:pt x="3319463" y="0"/>
                </a:lnTo>
                <a:lnTo>
                  <a:pt x="2707803" y="2225675"/>
                </a:lnTo>
                <a:lnTo>
                  <a:pt x="0" y="2225675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27"/>
          </p:nvPr>
        </p:nvSpPr>
        <p:spPr>
          <a:xfrm>
            <a:off x="6372226" y="1081088"/>
            <a:ext cx="2771775" cy="2225675"/>
          </a:xfrm>
          <a:custGeom>
            <a:avLst/>
            <a:gdLst/>
            <a:ahLst/>
            <a:cxnLst/>
            <a:rect l="l" t="t" r="r" b="b"/>
            <a:pathLst>
              <a:path w="2771775" h="2225675">
                <a:moveTo>
                  <a:pt x="601377" y="0"/>
                </a:moveTo>
                <a:lnTo>
                  <a:pt x="2771775" y="0"/>
                </a:lnTo>
                <a:lnTo>
                  <a:pt x="2771775" y="2225675"/>
                </a:lnTo>
                <a:lnTo>
                  <a:pt x="0" y="2225675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28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A03BAC3-5655-4B19-B6D0-8045C16EFFF7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41832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 &amp; 2 Texts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3"/>
          <p:cNvGrpSpPr>
            <a:grpSpLocks/>
          </p:cNvGrpSpPr>
          <p:nvPr userDrawn="1"/>
        </p:nvGrpSpPr>
        <p:grpSpPr bwMode="auto">
          <a:xfrm>
            <a:off x="69850" y="1304925"/>
            <a:ext cx="4718050" cy="2789238"/>
            <a:chOff x="683589" y="1495330"/>
            <a:chExt cx="3582384" cy="2731752"/>
          </a:xfrm>
        </p:grpSpPr>
        <p:sp>
          <p:nvSpPr>
            <p:cNvPr id="8" name="Parallelogram 7"/>
            <p:cNvSpPr/>
            <p:nvPr/>
          </p:nvSpPr>
          <p:spPr bwMode="auto">
            <a:xfrm>
              <a:off x="733010" y="1495330"/>
              <a:ext cx="3532963" cy="2512527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9" name="Parallelogram 8"/>
            <p:cNvSpPr/>
            <p:nvPr/>
          </p:nvSpPr>
          <p:spPr bwMode="auto">
            <a:xfrm>
              <a:off x="683589" y="3788634"/>
              <a:ext cx="3164118" cy="438448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10" name="Group 13"/>
          <p:cNvGrpSpPr>
            <a:grpSpLocks/>
          </p:cNvGrpSpPr>
          <p:nvPr userDrawn="1"/>
        </p:nvGrpSpPr>
        <p:grpSpPr bwMode="auto">
          <a:xfrm>
            <a:off x="4321175" y="1304925"/>
            <a:ext cx="4718050" cy="2789238"/>
            <a:chOff x="683589" y="1495330"/>
            <a:chExt cx="3582384" cy="2731752"/>
          </a:xfrm>
        </p:grpSpPr>
        <p:sp>
          <p:nvSpPr>
            <p:cNvPr id="11" name="Parallelogram 10"/>
            <p:cNvSpPr/>
            <p:nvPr/>
          </p:nvSpPr>
          <p:spPr bwMode="auto">
            <a:xfrm>
              <a:off x="733010" y="1495330"/>
              <a:ext cx="3532963" cy="2512527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12" name="Parallelogram 11"/>
            <p:cNvSpPr/>
            <p:nvPr/>
          </p:nvSpPr>
          <p:spPr bwMode="auto">
            <a:xfrm>
              <a:off x="683589" y="3788634"/>
              <a:ext cx="3164118" cy="438448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18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798513" y="1378791"/>
            <a:ext cx="3363912" cy="2198127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5049838" y="1378791"/>
            <a:ext cx="3363912" cy="2198127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3"/>
          </p:nvPr>
        </p:nvSpPr>
        <p:spPr>
          <a:xfrm>
            <a:off x="233363" y="3727825"/>
            <a:ext cx="3817937" cy="2769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US" sz="1800" kern="120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GB" kern="1200"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24"/>
          </p:nvPr>
        </p:nvSpPr>
        <p:spPr>
          <a:xfrm>
            <a:off x="4463256" y="3727825"/>
            <a:ext cx="3817937" cy="2769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US" sz="1800" kern="120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GB" kern="1200"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5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9CD2E2F-F92A-4B02-9BE7-CCF47B525670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10302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ridge">
    <p:bg>
      <p:bgPr>
        <a:blipFill dpi="0" rotWithShape="0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0"/>
          <p:cNvGrpSpPr>
            <a:grpSpLocks/>
          </p:cNvGrpSpPr>
          <p:nvPr userDrawn="1"/>
        </p:nvGrpSpPr>
        <p:grpSpPr bwMode="auto">
          <a:xfrm>
            <a:off x="525463" y="1116013"/>
            <a:ext cx="7999412" cy="2686050"/>
            <a:chOff x="318484" y="1489075"/>
            <a:chExt cx="8527332" cy="3581400"/>
          </a:xfrm>
        </p:grpSpPr>
        <p:sp>
          <p:nvSpPr>
            <p:cNvPr id="4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18484" y="1489075"/>
              <a:ext cx="382452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1</a:t>
              </a:r>
            </a:p>
          </p:txBody>
        </p:sp>
        <p:sp>
          <p:nvSpPr>
            <p:cNvPr id="5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18484" y="1946275"/>
              <a:ext cx="382452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6" name="Rectangle 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18484" y="2403475"/>
              <a:ext cx="382452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3</a:t>
              </a:r>
            </a:p>
          </p:txBody>
        </p:sp>
        <p:sp>
          <p:nvSpPr>
            <p:cNvPr id="7" name="Rectangle 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821087" y="19462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Double entry system</a:t>
              </a:r>
            </a:p>
          </p:txBody>
        </p:sp>
        <p:sp>
          <p:nvSpPr>
            <p:cNvPr id="8" name="Rectangle 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821087" y="24034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Time of recording the transactions</a:t>
              </a:r>
            </a:p>
          </p:txBody>
        </p:sp>
        <p:sp>
          <p:nvSpPr>
            <p:cNvPr id="9" name="Rectangle 1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821087" y="14890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dirty="0"/>
                <a:t>Definition of </a:t>
              </a:r>
              <a:r>
                <a:rPr lang="en-GB" altLang="en-US" sz="1800" dirty="0" err="1"/>
                <a:t>b.o.p</a:t>
              </a:r>
              <a:r>
                <a:rPr lang="en-GB" altLang="en-US" sz="1800" dirty="0"/>
                <a:t>. and </a:t>
              </a:r>
              <a:r>
                <a:rPr lang="en-GB" altLang="en-US" sz="1800" dirty="0" err="1"/>
                <a:t>i.i.p</a:t>
              </a:r>
              <a:r>
                <a:rPr lang="en-GB" altLang="en-US" sz="1800" dirty="0"/>
                <a:t>.</a:t>
              </a:r>
            </a:p>
          </p:txBody>
        </p:sp>
        <p:sp>
          <p:nvSpPr>
            <p:cNvPr id="10" name="Rectangle 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18484" y="2871258"/>
              <a:ext cx="380760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4</a:t>
              </a:r>
            </a:p>
          </p:txBody>
        </p:sp>
        <p:sp>
          <p:nvSpPr>
            <p:cNvPr id="11" name="Rectangle 1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18484" y="3328458"/>
              <a:ext cx="380760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5</a:t>
              </a:r>
            </a:p>
          </p:txBody>
        </p:sp>
        <p:sp>
          <p:nvSpPr>
            <p:cNvPr id="12" name="Rectangle 1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18484" y="3785658"/>
              <a:ext cx="380760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6</a:t>
              </a:r>
            </a:p>
          </p:txBody>
        </p:sp>
        <p:sp>
          <p:nvSpPr>
            <p:cNvPr id="13" name="Rectangle 1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821087" y="3328458"/>
              <a:ext cx="8024729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Reconciliation flows and stocks</a:t>
              </a:r>
            </a:p>
          </p:txBody>
        </p:sp>
        <p:sp>
          <p:nvSpPr>
            <p:cNvPr id="14" name="Rectangle 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821087" y="3785658"/>
              <a:ext cx="8024729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Euro area residency</a:t>
              </a:r>
            </a:p>
          </p:txBody>
        </p:sp>
        <p:sp>
          <p:nvSpPr>
            <p:cNvPr id="15" name="Rectangle 1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821087" y="2871258"/>
              <a:ext cx="8024729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Valuation of transactions and stocks</a:t>
              </a:r>
            </a:p>
          </p:txBody>
        </p:sp>
        <p:sp>
          <p:nvSpPr>
            <p:cNvPr id="16" name="Rectangle 2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18484" y="4232275"/>
              <a:ext cx="380760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7</a:t>
              </a:r>
            </a:p>
          </p:txBody>
        </p:sp>
        <p:sp>
          <p:nvSpPr>
            <p:cNvPr id="17" name="Rectangle 2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318484" y="4689475"/>
              <a:ext cx="380760" cy="381000"/>
            </a:xfrm>
            <a:prstGeom prst="rect">
              <a:avLst/>
            </a:prstGeom>
            <a:solidFill>
              <a:srgbClr val="0032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8</a:t>
              </a:r>
            </a:p>
          </p:txBody>
        </p:sp>
        <p:sp>
          <p:nvSpPr>
            <p:cNvPr id="18" name="Rectangle 2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821087" y="42322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Standards components</a:t>
              </a:r>
            </a:p>
          </p:txBody>
        </p:sp>
        <p:sp>
          <p:nvSpPr>
            <p:cNvPr id="19" name="Rectangle 2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821087" y="46894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Classification of transactions</a:t>
              </a:r>
            </a:p>
          </p:txBody>
        </p:sp>
      </p:grpSp>
      <p:sp>
        <p:nvSpPr>
          <p:cNvPr id="20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27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CAD61C4-D565-481A-81FB-FD2D5DA6A43C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137708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Images &amp; 6 Texts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3"/>
          <p:cNvGrpSpPr>
            <a:grpSpLocks/>
          </p:cNvGrpSpPr>
          <p:nvPr userDrawn="1"/>
        </p:nvGrpSpPr>
        <p:grpSpPr bwMode="auto">
          <a:xfrm>
            <a:off x="5697538" y="2898775"/>
            <a:ext cx="2992437" cy="1770063"/>
            <a:chOff x="683589" y="1495330"/>
            <a:chExt cx="3582384" cy="2731752"/>
          </a:xfrm>
        </p:grpSpPr>
        <p:sp>
          <p:nvSpPr>
            <p:cNvPr id="16" name="Parallelogram 15"/>
            <p:cNvSpPr/>
            <p:nvPr/>
          </p:nvSpPr>
          <p:spPr bwMode="auto">
            <a:xfrm>
              <a:off x="733001" y="1495330"/>
              <a:ext cx="3532972" cy="2513701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17" name="Parallelogram 16"/>
            <p:cNvSpPr/>
            <p:nvPr/>
          </p:nvSpPr>
          <p:spPr bwMode="auto">
            <a:xfrm>
              <a:off x="683589" y="3788531"/>
              <a:ext cx="3164281" cy="438551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18" name="Group 13"/>
          <p:cNvGrpSpPr>
            <a:grpSpLocks/>
          </p:cNvGrpSpPr>
          <p:nvPr userDrawn="1"/>
        </p:nvGrpSpPr>
        <p:grpSpPr bwMode="auto">
          <a:xfrm>
            <a:off x="2927350" y="2905125"/>
            <a:ext cx="2992438" cy="1768475"/>
            <a:chOff x="683589" y="1495330"/>
            <a:chExt cx="3582384" cy="2731752"/>
          </a:xfrm>
        </p:grpSpPr>
        <p:sp>
          <p:nvSpPr>
            <p:cNvPr id="19" name="Parallelogram 18"/>
            <p:cNvSpPr/>
            <p:nvPr/>
          </p:nvSpPr>
          <p:spPr bwMode="auto">
            <a:xfrm>
              <a:off x="733001" y="1495330"/>
              <a:ext cx="3532972" cy="2513507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20" name="Parallelogram 19"/>
            <p:cNvSpPr/>
            <p:nvPr/>
          </p:nvSpPr>
          <p:spPr bwMode="auto">
            <a:xfrm>
              <a:off x="683589" y="3788139"/>
              <a:ext cx="3164281" cy="438943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21" name="Group 13"/>
          <p:cNvGrpSpPr>
            <a:grpSpLocks/>
          </p:cNvGrpSpPr>
          <p:nvPr userDrawn="1"/>
        </p:nvGrpSpPr>
        <p:grpSpPr bwMode="auto">
          <a:xfrm>
            <a:off x="157163" y="2905125"/>
            <a:ext cx="2994025" cy="1768475"/>
            <a:chOff x="683589" y="1495330"/>
            <a:chExt cx="3582384" cy="2731752"/>
          </a:xfrm>
        </p:grpSpPr>
        <p:sp>
          <p:nvSpPr>
            <p:cNvPr id="22" name="Parallelogram 21"/>
            <p:cNvSpPr/>
            <p:nvPr/>
          </p:nvSpPr>
          <p:spPr bwMode="auto">
            <a:xfrm>
              <a:off x="732975" y="1495330"/>
              <a:ext cx="3532998" cy="2513507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23" name="Parallelogram 22"/>
            <p:cNvSpPr/>
            <p:nvPr/>
          </p:nvSpPr>
          <p:spPr bwMode="auto">
            <a:xfrm>
              <a:off x="683589" y="3788139"/>
              <a:ext cx="3164503" cy="438943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24" name="Group 13"/>
          <p:cNvGrpSpPr>
            <a:grpSpLocks/>
          </p:cNvGrpSpPr>
          <p:nvPr userDrawn="1"/>
        </p:nvGrpSpPr>
        <p:grpSpPr bwMode="auto">
          <a:xfrm>
            <a:off x="5913438" y="1106488"/>
            <a:ext cx="2994025" cy="1770062"/>
            <a:chOff x="683589" y="1495330"/>
            <a:chExt cx="3582384" cy="2731752"/>
          </a:xfrm>
        </p:grpSpPr>
        <p:sp>
          <p:nvSpPr>
            <p:cNvPr id="25" name="Parallelogram 24"/>
            <p:cNvSpPr/>
            <p:nvPr/>
          </p:nvSpPr>
          <p:spPr bwMode="auto">
            <a:xfrm>
              <a:off x="732975" y="1495330"/>
              <a:ext cx="3532998" cy="2513703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26" name="Parallelogram 25"/>
            <p:cNvSpPr/>
            <p:nvPr/>
          </p:nvSpPr>
          <p:spPr bwMode="auto">
            <a:xfrm>
              <a:off x="683589" y="3788532"/>
              <a:ext cx="3164503" cy="438550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27" name="Group 13"/>
          <p:cNvGrpSpPr>
            <a:grpSpLocks/>
          </p:cNvGrpSpPr>
          <p:nvPr userDrawn="1"/>
        </p:nvGrpSpPr>
        <p:grpSpPr bwMode="auto">
          <a:xfrm>
            <a:off x="3143250" y="1112838"/>
            <a:ext cx="2994025" cy="1768475"/>
            <a:chOff x="683589" y="1495330"/>
            <a:chExt cx="3582384" cy="2731752"/>
          </a:xfrm>
        </p:grpSpPr>
        <p:sp>
          <p:nvSpPr>
            <p:cNvPr id="28" name="Parallelogram 27"/>
            <p:cNvSpPr/>
            <p:nvPr/>
          </p:nvSpPr>
          <p:spPr bwMode="auto">
            <a:xfrm>
              <a:off x="732975" y="1495330"/>
              <a:ext cx="3532998" cy="2513505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29" name="Parallelogram 28"/>
            <p:cNvSpPr/>
            <p:nvPr/>
          </p:nvSpPr>
          <p:spPr bwMode="auto">
            <a:xfrm>
              <a:off x="683589" y="3788137"/>
              <a:ext cx="3164503" cy="438945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30" name="Group 13"/>
          <p:cNvGrpSpPr>
            <a:grpSpLocks/>
          </p:cNvGrpSpPr>
          <p:nvPr userDrawn="1"/>
        </p:nvGrpSpPr>
        <p:grpSpPr bwMode="auto">
          <a:xfrm>
            <a:off x="373063" y="1112838"/>
            <a:ext cx="2994025" cy="1768475"/>
            <a:chOff x="683589" y="1495330"/>
            <a:chExt cx="3582384" cy="2731752"/>
          </a:xfrm>
        </p:grpSpPr>
        <p:sp>
          <p:nvSpPr>
            <p:cNvPr id="31" name="Parallelogram 30"/>
            <p:cNvSpPr/>
            <p:nvPr/>
          </p:nvSpPr>
          <p:spPr bwMode="auto">
            <a:xfrm>
              <a:off x="732975" y="1495330"/>
              <a:ext cx="3532998" cy="2513505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32" name="Parallelogram 31"/>
            <p:cNvSpPr/>
            <p:nvPr/>
          </p:nvSpPr>
          <p:spPr bwMode="auto">
            <a:xfrm>
              <a:off x="683589" y="3788137"/>
              <a:ext cx="3164503" cy="438945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sp>
        <p:nvSpPr>
          <p:cNvPr id="33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37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589757" y="2922682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3367088" y="2922682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6137276" y="2922682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4" name="Text Placeholder 42"/>
          <p:cNvSpPr>
            <a:spLocks noGrp="1"/>
          </p:cNvSpPr>
          <p:nvPr>
            <p:ph type="body" sz="quarter" idx="25"/>
          </p:nvPr>
        </p:nvSpPr>
        <p:spPr>
          <a:xfrm>
            <a:off x="3348319" y="2650940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42"/>
          <p:cNvSpPr>
            <a:spLocks noGrp="1"/>
          </p:cNvSpPr>
          <p:nvPr>
            <p:ph type="body" sz="quarter" idx="26"/>
          </p:nvPr>
        </p:nvSpPr>
        <p:spPr>
          <a:xfrm>
            <a:off x="6054725" y="2650940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42"/>
          <p:cNvSpPr>
            <a:spLocks noGrp="1"/>
          </p:cNvSpPr>
          <p:nvPr>
            <p:ph type="body" sz="quarter" idx="27"/>
          </p:nvPr>
        </p:nvSpPr>
        <p:spPr>
          <a:xfrm>
            <a:off x="298450" y="4434423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2"/>
          <p:cNvSpPr>
            <a:spLocks noGrp="1"/>
          </p:cNvSpPr>
          <p:nvPr>
            <p:ph type="body" sz="quarter" idx="28"/>
          </p:nvPr>
        </p:nvSpPr>
        <p:spPr>
          <a:xfrm>
            <a:off x="3081619" y="4434423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42"/>
          <p:cNvSpPr>
            <a:spLocks noGrp="1"/>
          </p:cNvSpPr>
          <p:nvPr>
            <p:ph type="body" sz="quarter" idx="29"/>
          </p:nvPr>
        </p:nvSpPr>
        <p:spPr>
          <a:xfrm>
            <a:off x="5788025" y="4434423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Picture Placeholder 2"/>
          <p:cNvSpPr>
            <a:spLocks noGrp="1"/>
          </p:cNvSpPr>
          <p:nvPr>
            <p:ph type="pic" sz="quarter" idx="30"/>
          </p:nvPr>
        </p:nvSpPr>
        <p:spPr>
          <a:xfrm>
            <a:off x="798513" y="1130300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50" name="Picture Placeholder 2"/>
          <p:cNvSpPr>
            <a:spLocks noGrp="1"/>
          </p:cNvSpPr>
          <p:nvPr>
            <p:ph type="pic" sz="quarter" idx="31"/>
          </p:nvPr>
        </p:nvSpPr>
        <p:spPr>
          <a:xfrm>
            <a:off x="3575844" y="1130300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51" name="Picture Placeholder 2"/>
          <p:cNvSpPr>
            <a:spLocks noGrp="1"/>
          </p:cNvSpPr>
          <p:nvPr>
            <p:ph type="pic" sz="quarter" idx="32"/>
          </p:nvPr>
        </p:nvSpPr>
        <p:spPr>
          <a:xfrm>
            <a:off x="6346032" y="1130300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52" name="Text Placeholder 42"/>
          <p:cNvSpPr>
            <a:spLocks noGrp="1"/>
          </p:cNvSpPr>
          <p:nvPr>
            <p:ph type="body" sz="quarter" idx="24"/>
          </p:nvPr>
        </p:nvSpPr>
        <p:spPr>
          <a:xfrm>
            <a:off x="565150" y="2650940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Slide Number Placeholder 5"/>
          <p:cNvSpPr>
            <a:spLocks noGrp="1"/>
          </p:cNvSpPr>
          <p:nvPr>
            <p:ph type="sldNum" sz="quarter" idx="33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A91E1AE-0C8E-4F76-9822-41893C44C1CD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52212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ort Elements - long headline">
    <p:bg>
      <p:bgPr>
        <a:blipFill dpi="0" rotWithShape="0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59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468313" y="1150144"/>
            <a:ext cx="8415711" cy="3351610"/>
          </a:xfrm>
        </p:spPr>
        <p:txBody>
          <a:bodyPr/>
          <a:lstStyle>
            <a:lvl1pPr>
              <a:defRPr sz="1900"/>
            </a:lvl1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320B71-EC71-4A7E-8C8A-9C555B387A1C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633283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mport Elements - Long &amp; Short headline">
    <p:bg>
      <p:bgPr>
        <a:blipFill dpi="0" rotWithShape="0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570016"/>
            <a:ext cx="9144000" cy="107471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59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468313" y="706582"/>
            <a:ext cx="8415711" cy="3795172"/>
          </a:xfrm>
        </p:spPr>
        <p:txBody>
          <a:bodyPr/>
          <a:lstStyle>
            <a:lvl1pPr>
              <a:defRPr sz="1900"/>
            </a:lvl1pPr>
          </a:lstStyle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150685"/>
            <a:ext cx="8404225" cy="29462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 dirty="0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320B71-EC71-4A7E-8C8A-9C555B387A1C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897133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mport Elements - FullPage">
    <p:bg>
      <p:bgPr>
        <a:blipFill dpi="0" rotWithShape="0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59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468313" y="748145"/>
            <a:ext cx="8415711" cy="3753609"/>
          </a:xfrm>
        </p:spPr>
        <p:txBody>
          <a:bodyPr/>
          <a:lstStyle>
            <a:lvl1pPr>
              <a:defRPr sz="1900"/>
            </a:lvl1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126932"/>
            <a:ext cx="8404225" cy="40744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0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320B71-EC71-4A7E-8C8A-9C555B387A1C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284976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ort Elements - Small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 3"/>
          <p:cNvSpPr/>
          <p:nvPr userDrawn="1"/>
        </p:nvSpPr>
        <p:spPr bwMode="auto">
          <a:xfrm>
            <a:off x="3629025" y="1782763"/>
            <a:ext cx="5514975" cy="2697162"/>
          </a:xfrm>
          <a:custGeom>
            <a:avLst/>
            <a:gdLst/>
            <a:ahLst/>
            <a:cxnLst/>
            <a:rect l="l" t="t" r="r" b="b"/>
            <a:pathLst>
              <a:path w="5514975" h="2697162">
                <a:moveTo>
                  <a:pt x="771523" y="0"/>
                </a:moveTo>
                <a:lnTo>
                  <a:pt x="5514975" y="0"/>
                </a:lnTo>
                <a:lnTo>
                  <a:pt x="5514975" y="2658323"/>
                </a:lnTo>
                <a:lnTo>
                  <a:pt x="5503865" y="2697162"/>
                </a:lnTo>
                <a:lnTo>
                  <a:pt x="0" y="2697162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0" sx="102000" sy="102000" algn="ctr" rotWithShape="0">
              <a:prstClr val="black">
                <a:alpha val="10000"/>
              </a:prstClr>
            </a:outerShdw>
          </a:effectLst>
        </p:spPr>
        <p:txBody>
          <a:bodyPr anchor="ctr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GB"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idx="4294967295"/>
          </p:nvPr>
        </p:nvSpPr>
        <p:spPr>
          <a:xfrm>
            <a:off x="4427538" y="2139554"/>
            <a:ext cx="4465450" cy="2283619"/>
          </a:xfrm>
        </p:spPr>
        <p:txBody>
          <a:bodyPr/>
          <a:lstStyle>
            <a:lvl1pPr>
              <a:defRPr sz="1900"/>
            </a:lvl1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5CF0E3E-6A53-407C-B228-D257703978F3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788288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harts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>
          <a:xfrm>
            <a:off x="466725" y="1069892"/>
            <a:ext cx="4023388" cy="33480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9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4660490" y="1059916"/>
            <a:ext cx="4211992" cy="33480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53799" y="4405901"/>
            <a:ext cx="4032250" cy="323850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 marL="300037" indent="0">
              <a:buFontTx/>
              <a:buNone/>
              <a:defRPr sz="1600"/>
            </a:lvl2pPr>
            <a:lvl3pPr marL="598487" indent="0">
              <a:buFontTx/>
              <a:buNone/>
              <a:defRPr sz="1600"/>
            </a:lvl3pPr>
            <a:lvl4pPr marL="915987" indent="0">
              <a:buFontTx/>
              <a:buNone/>
              <a:defRPr sz="1600"/>
            </a:lvl4pPr>
            <a:lvl5pPr marL="1220787" indent="0">
              <a:buFontTx/>
              <a:buNone/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659019" y="4405901"/>
            <a:ext cx="4032250" cy="323850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 marL="300037" indent="0">
              <a:buFontTx/>
              <a:buNone/>
              <a:defRPr sz="1600"/>
            </a:lvl2pPr>
            <a:lvl3pPr marL="598487" indent="0">
              <a:buFontTx/>
              <a:buNone/>
              <a:defRPr sz="1600"/>
            </a:lvl3pPr>
            <a:lvl4pPr marL="915987" indent="0">
              <a:buFontTx/>
              <a:buNone/>
              <a:defRPr sz="1600"/>
            </a:lvl4pPr>
            <a:lvl5pPr marL="1220787" indent="0">
              <a:buFontTx/>
              <a:buNone/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5A8A81F-602E-4F8A-A59F-1CB8EC3665FC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498556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harts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"/>
          <p:cNvCxnSpPr>
            <a:cxnSpLocks noChangeShapeType="1"/>
          </p:cNvCxnSpPr>
          <p:nvPr userDrawn="1"/>
        </p:nvCxnSpPr>
        <p:spPr bwMode="auto">
          <a:xfrm>
            <a:off x="0" y="0"/>
            <a:ext cx="914400" cy="0"/>
          </a:xfrm>
          <a:prstGeom prst="line">
            <a:avLst/>
          </a:prstGeom>
          <a:noFill/>
          <a:ln w="0" algn="ctr">
            <a:solidFill>
              <a:srgbClr val="FB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33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4"/>
          </p:nvPr>
        </p:nvSpPr>
        <p:spPr>
          <a:xfrm>
            <a:off x="457200" y="1107035"/>
            <a:ext cx="4105835" cy="17478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14" name="Chart Placeholder 2"/>
          <p:cNvSpPr>
            <a:spLocks noGrp="1"/>
          </p:cNvSpPr>
          <p:nvPr>
            <p:ph type="chart" sz="quarter" idx="15"/>
          </p:nvPr>
        </p:nvSpPr>
        <p:spPr>
          <a:xfrm>
            <a:off x="4778188" y="1107035"/>
            <a:ext cx="4105835" cy="17478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15" name="Chart Placeholder 2"/>
          <p:cNvSpPr>
            <a:spLocks noGrp="1"/>
          </p:cNvSpPr>
          <p:nvPr>
            <p:ph type="chart" sz="quarter" idx="16"/>
          </p:nvPr>
        </p:nvSpPr>
        <p:spPr>
          <a:xfrm>
            <a:off x="457200" y="2917906"/>
            <a:ext cx="4105835" cy="17478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16" name="Chart Placeholder 2"/>
          <p:cNvSpPr>
            <a:spLocks noGrp="1"/>
          </p:cNvSpPr>
          <p:nvPr>
            <p:ph type="chart" sz="quarter" idx="17"/>
          </p:nvPr>
        </p:nvSpPr>
        <p:spPr>
          <a:xfrm>
            <a:off x="4778188" y="2917906"/>
            <a:ext cx="4105835" cy="17478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538A09-DD14-42AD-BF95-748291479EDB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641602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rganization Chart or other visualizations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66726" y="1071563"/>
            <a:ext cx="8397875" cy="3351610"/>
          </a:xfrm>
        </p:spPr>
        <p:txBody>
          <a:bodyPr/>
          <a:lstStyle/>
          <a:p>
            <a:pPr lvl="0"/>
            <a:r>
              <a:rPr lang="en-US" noProof="0"/>
              <a:t>Click icon to add SmartArt graphic</a:t>
            </a:r>
            <a:endParaRPr lang="en-GB" noProof="0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A2AD3AA-77E8-4059-99E1-B20E6EF740D6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461095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able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 3"/>
          <p:cNvSpPr/>
          <p:nvPr userDrawn="1"/>
        </p:nvSpPr>
        <p:spPr bwMode="auto">
          <a:xfrm>
            <a:off x="3629025" y="1782763"/>
            <a:ext cx="5514975" cy="2697162"/>
          </a:xfrm>
          <a:custGeom>
            <a:avLst/>
            <a:gdLst/>
            <a:ahLst/>
            <a:cxnLst/>
            <a:rect l="l" t="t" r="r" b="b"/>
            <a:pathLst>
              <a:path w="5514975" h="2697162">
                <a:moveTo>
                  <a:pt x="771523" y="0"/>
                </a:moveTo>
                <a:lnTo>
                  <a:pt x="5514975" y="0"/>
                </a:lnTo>
                <a:lnTo>
                  <a:pt x="5514975" y="2658323"/>
                </a:lnTo>
                <a:lnTo>
                  <a:pt x="5503865" y="2697162"/>
                </a:lnTo>
                <a:lnTo>
                  <a:pt x="0" y="2697162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0" sx="102000" sy="102000" algn="ctr" rotWithShape="0">
              <a:prstClr val="black">
                <a:alpha val="10000"/>
              </a:prstClr>
            </a:outerShdw>
          </a:effectLst>
        </p:spPr>
        <p:txBody>
          <a:bodyPr anchor="ctr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GB"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idx="4294967295"/>
          </p:nvPr>
        </p:nvSpPr>
        <p:spPr>
          <a:xfrm>
            <a:off x="4816475" y="2556272"/>
            <a:ext cx="4076700" cy="18514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F779A3-FBD7-43A9-A418-08688450EED9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589502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- Text &amp;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725988" y="1471613"/>
            <a:ext cx="3835400" cy="1808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  <a:defRPr/>
            </a:pPr>
            <a:endParaRPr lang="en-GB" altLang="en-US" sz="3500" dirty="0">
              <a:solidFill>
                <a:srgbClr val="FFFFFF"/>
              </a:solidFill>
            </a:endParaRPr>
          </a:p>
        </p:txBody>
      </p:sp>
      <p:sp>
        <p:nvSpPr>
          <p:cNvPr id="8" name="Rectangle 1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725988" y="3400425"/>
            <a:ext cx="3949700" cy="65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None/>
              <a:defRPr/>
            </a:pPr>
            <a:endParaRPr lang="en-GB" altLang="en-US" sz="2000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11" name="Rectangle 1"/>
          <p:cNvSpPr>
            <a:spLocks noChangeArrowheads="1"/>
          </p:cNvSpPr>
          <p:nvPr userDrawn="1"/>
        </p:nvSpPr>
        <p:spPr bwMode="auto">
          <a:xfrm>
            <a:off x="4816475" y="3443288"/>
            <a:ext cx="790575" cy="25400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FontTx/>
              <a:buNone/>
              <a:defRPr/>
            </a:pPr>
            <a:endParaRPr lang="en-GB" altLang="en-US" sz="1800">
              <a:ea typeface="ヒラギノ角ゴ Pro W3"/>
              <a:cs typeface="ヒラギノ角ゴ Pro W3"/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1" y="-3175"/>
            <a:ext cx="4621213" cy="5141913"/>
          </a:xfrm>
          <a:custGeom>
            <a:avLst/>
            <a:gdLst/>
            <a:ahLst/>
            <a:cxnLst/>
            <a:rect l="l" t="t" r="r" b="b"/>
            <a:pathLst>
              <a:path w="4621213" h="5141913">
                <a:moveTo>
                  <a:pt x="0" y="0"/>
                </a:moveTo>
                <a:lnTo>
                  <a:pt x="4621213" y="0"/>
                </a:lnTo>
                <a:lnTo>
                  <a:pt x="3184409" y="5141913"/>
                </a:lnTo>
                <a:lnTo>
                  <a:pt x="0" y="5141913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4816475" y="907256"/>
            <a:ext cx="3968750" cy="1128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z="6000" kern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4811713" y="2137569"/>
            <a:ext cx="3968750" cy="126285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z="3200" kern="1200" smtClean="0">
                <a:solidFill>
                  <a:schemeClr val="bg1"/>
                </a:solidFill>
                <a:ea typeface="+mj-ea"/>
                <a:cs typeface="+mj-cs"/>
              </a:defRPr>
            </a:lvl1pPr>
            <a:lvl2pPr>
              <a:defRPr lang="en-US" smtClean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4811713" y="3565525"/>
            <a:ext cx="3968750" cy="1128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>
              <a:defRPr lang="en-US" sz="2000" kern="12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97FC801-E2EE-42B2-BFDF-F67C23A6F660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937187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- Text (NO Imag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53975" y="0"/>
            <a:ext cx="9197975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725988" y="1471613"/>
            <a:ext cx="3835400" cy="1808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  <a:defRPr/>
            </a:pPr>
            <a:endParaRPr lang="en-GB" altLang="en-US" sz="3500" dirty="0">
              <a:solidFill>
                <a:srgbClr val="FFFFFF"/>
              </a:solidFill>
            </a:endParaRPr>
          </a:p>
        </p:txBody>
      </p:sp>
      <p:sp>
        <p:nvSpPr>
          <p:cNvPr id="8" name="Rectangle 1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725988" y="3400425"/>
            <a:ext cx="3949700" cy="65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None/>
              <a:defRPr/>
            </a:pPr>
            <a:endParaRPr lang="en-GB" altLang="en-US" sz="2000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10" name="Rectangle 1"/>
          <p:cNvSpPr>
            <a:spLocks noChangeArrowheads="1"/>
          </p:cNvSpPr>
          <p:nvPr userDrawn="1"/>
        </p:nvSpPr>
        <p:spPr bwMode="auto">
          <a:xfrm>
            <a:off x="4816475" y="3443288"/>
            <a:ext cx="790575" cy="25400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FontTx/>
              <a:buNone/>
              <a:defRPr/>
            </a:pPr>
            <a:endParaRPr lang="en-GB" altLang="en-US" sz="1800">
              <a:ea typeface="ヒラギノ角ゴ Pro W3"/>
              <a:cs typeface="ヒラギノ角ゴ Pro W3"/>
            </a:endParaRPr>
          </a:p>
        </p:txBody>
      </p:sp>
      <p:sp>
        <p:nvSpPr>
          <p:cNvPr id="11" name="Parallelogram 10"/>
          <p:cNvSpPr/>
          <p:nvPr userDrawn="1"/>
        </p:nvSpPr>
        <p:spPr bwMode="auto">
          <a:xfrm>
            <a:off x="0" y="0"/>
            <a:ext cx="4591050" cy="5143500"/>
          </a:xfrm>
          <a:custGeom>
            <a:avLst/>
            <a:gdLst/>
            <a:ahLst/>
            <a:cxnLst/>
            <a:rect l="l" t="t" r="r" b="b"/>
            <a:pathLst>
              <a:path w="4591751" h="5143500">
                <a:moveTo>
                  <a:pt x="0" y="0"/>
                </a:moveTo>
                <a:lnTo>
                  <a:pt x="4591751" y="0"/>
                </a:lnTo>
                <a:lnTo>
                  <a:pt x="3154503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0" sx="102000" sy="102000" algn="ctr" rotWithShape="0">
              <a:prstClr val="black">
                <a:alpha val="10000"/>
              </a:prstClr>
            </a:outerShdw>
          </a:effectLst>
        </p:spPr>
        <p:txBody>
          <a:bodyPr anchor="ctr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GB"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4816475" y="907256"/>
            <a:ext cx="3968750" cy="1128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z="6000" kern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4811713" y="2137569"/>
            <a:ext cx="3968750" cy="126285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z="3200" kern="1200" smtClean="0">
                <a:solidFill>
                  <a:schemeClr val="bg1"/>
                </a:solidFill>
                <a:ea typeface="+mj-ea"/>
                <a:cs typeface="+mj-cs"/>
              </a:defRPr>
            </a:lvl1pPr>
            <a:lvl2pPr>
              <a:defRPr lang="en-US" smtClean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4811713" y="3565525"/>
            <a:ext cx="3968750" cy="1128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>
              <a:defRPr lang="en-US" sz="2000" kern="12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0" y="831850"/>
            <a:ext cx="3881438" cy="40290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/>
          <a:lstStyle>
            <a:lvl1pPr algn="r">
              <a:defRPr lang="en-US" sz="30000" b="1" kern="1200" smtClean="0">
                <a:solidFill>
                  <a:srgbClr val="003299"/>
                </a:solidFill>
                <a:cs typeface="Arial" pitchFamily="34" charset="0"/>
              </a:defRPr>
            </a:lvl1pPr>
            <a:lvl2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GB" kern="1200"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89EFBB2-B333-479B-84A0-F406AA2E2D12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18592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Full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>
            <a:spLocks noChangeArrowheads="1"/>
          </p:cNvSpPr>
          <p:nvPr userDrawn="1"/>
        </p:nvSpPr>
        <p:spPr bwMode="auto">
          <a:xfrm>
            <a:off x="468313" y="1222375"/>
            <a:ext cx="8194675" cy="327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98450" indent="-298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96900" indent="-29686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indent="-3159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192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5240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812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4384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956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528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buClr>
                <a:schemeClr val="tx2"/>
              </a:buClr>
              <a:buFontTx/>
              <a:buChar char="•"/>
              <a:defRPr/>
            </a:pPr>
            <a:endParaRPr lang="en-US" altLang="en-US" sz="2200">
              <a:solidFill>
                <a:schemeClr val="tx2"/>
              </a:solidFill>
            </a:endParaRPr>
          </a:p>
        </p:txBody>
      </p:sp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2AD2B4C-24FD-485E-ADAD-B1E3DC73B16B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795737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Placeholder (With Image)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 3"/>
          <p:cNvSpPr/>
          <p:nvPr userDrawn="1"/>
        </p:nvSpPr>
        <p:spPr bwMode="auto">
          <a:xfrm>
            <a:off x="0" y="1109663"/>
            <a:ext cx="8197850" cy="3613150"/>
          </a:xfrm>
          <a:custGeom>
            <a:avLst/>
            <a:gdLst/>
            <a:ahLst/>
            <a:cxnLst/>
            <a:rect l="l" t="t" r="r" b="b"/>
            <a:pathLst>
              <a:path w="8197850" h="3613150">
                <a:moveTo>
                  <a:pt x="433207" y="0"/>
                </a:moveTo>
                <a:lnTo>
                  <a:pt x="8197850" y="0"/>
                </a:lnTo>
                <a:lnTo>
                  <a:pt x="7269343" y="3613150"/>
                </a:lnTo>
                <a:lnTo>
                  <a:pt x="0" y="3613150"/>
                </a:lnTo>
                <a:lnTo>
                  <a:pt x="0" y="1685762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0" sx="102000" sy="102000" algn="ctr" rotWithShape="0">
              <a:prstClr val="black">
                <a:alpha val="10000"/>
              </a:prstClr>
            </a:outerShdw>
          </a:effectLst>
        </p:spPr>
        <p:txBody>
          <a:bodyPr anchor="ctr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GB"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 userDrawn="1"/>
        </p:nvSpPr>
        <p:spPr bwMode="auto">
          <a:xfrm>
            <a:off x="971550" y="1492250"/>
            <a:ext cx="2160588" cy="280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96900" indent="-29686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indent="-3159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192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5240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812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4384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956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528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buClr>
                <a:schemeClr val="tx2"/>
              </a:buClr>
              <a:defRPr/>
            </a:pPr>
            <a:endParaRPr lang="en-GB" altLang="en-US" sz="2000"/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3286126" y="1"/>
            <a:ext cx="5857875" cy="4721225"/>
          </a:xfrm>
          <a:custGeom>
            <a:avLst/>
            <a:gdLst/>
            <a:ahLst/>
            <a:cxnLst/>
            <a:rect l="l" t="t" r="r" b="b"/>
            <a:pathLst>
              <a:path w="5857875" h="4721225">
                <a:moveTo>
                  <a:pt x="1190458" y="0"/>
                </a:moveTo>
                <a:lnTo>
                  <a:pt x="5857875" y="0"/>
                </a:lnTo>
                <a:lnTo>
                  <a:pt x="5857875" y="4721225"/>
                </a:lnTo>
                <a:lnTo>
                  <a:pt x="0" y="4721225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AAA2B01-B512-4650-90E0-024ED79178B0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004001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">
    <p:bg>
      <p:bgPr>
        <a:blipFill dpi="0" rotWithShape="0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3286126" y="1"/>
            <a:ext cx="5857875" cy="4721225"/>
          </a:xfrm>
          <a:custGeom>
            <a:avLst/>
            <a:gdLst/>
            <a:ahLst/>
            <a:cxnLst/>
            <a:rect l="l" t="t" r="r" b="b"/>
            <a:pathLst>
              <a:path w="5857875" h="4721225">
                <a:moveTo>
                  <a:pt x="1190458" y="0"/>
                </a:moveTo>
                <a:lnTo>
                  <a:pt x="5857875" y="0"/>
                </a:lnTo>
                <a:lnTo>
                  <a:pt x="5857875" y="4721225"/>
                </a:lnTo>
                <a:lnTo>
                  <a:pt x="0" y="4721225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0" y="1074738"/>
            <a:ext cx="4222750" cy="3646487"/>
          </a:xfrm>
          <a:custGeom>
            <a:avLst/>
            <a:gdLst/>
            <a:ahLst/>
            <a:cxnLst/>
            <a:rect l="l" t="t" r="r" b="b"/>
            <a:pathLst>
              <a:path w="4222750" h="3646487">
                <a:moveTo>
                  <a:pt x="0" y="0"/>
                </a:moveTo>
                <a:lnTo>
                  <a:pt x="4222750" y="0"/>
                </a:lnTo>
                <a:lnTo>
                  <a:pt x="3293625" y="3646487"/>
                </a:lnTo>
                <a:lnTo>
                  <a:pt x="0" y="3646487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D9341D4-07C6-4282-AE38-5248E8AD561A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082263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23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6DB1A70-14DC-4B26-AFE4-6D955E9EB9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1559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6" imgH="346" progId="TCLayout.ActiveDocument.1">
                  <p:embed/>
                </p:oleObj>
              </mc:Choice>
              <mc:Fallback>
                <p:oleObj name="think-cell Slide" r:id="rId21" imgW="346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3"/>
          <p:cNvSpPr>
            <a:spLocks noChangeArrowheads="1"/>
          </p:cNvSpPr>
          <p:nvPr/>
        </p:nvSpPr>
        <p:spPr bwMode="auto">
          <a:xfrm>
            <a:off x="271463" y="77788"/>
            <a:ext cx="6502400" cy="277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GB" altLang="en-US">
                <a:solidFill>
                  <a:srgbClr val="FFFFFF"/>
                </a:solidFill>
                <a:ea typeface="ヒラギノ角ゴ Pro W3"/>
                <a:cs typeface="ヒラギノ角ゴ Pro W3"/>
              </a:rPr>
              <a:t>Rubric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50938"/>
            <a:ext cx="8194675" cy="3351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Mastertextformat bearbeiten</a:t>
            </a:r>
          </a:p>
          <a:p>
            <a:pPr lvl="1"/>
            <a:r>
              <a:rPr lang="en-GB" altLang="en-US"/>
              <a:t>Zweite Ebene</a:t>
            </a:r>
          </a:p>
          <a:p>
            <a:pPr lvl="2"/>
            <a:r>
              <a:rPr lang="en-GB" altLang="en-US"/>
              <a:t>Dritte Ebene</a:t>
            </a:r>
          </a:p>
          <a:p>
            <a:pPr lvl="3"/>
            <a:r>
              <a:rPr lang="en-GB" altLang="en-US"/>
              <a:t>Vierte Ebene</a:t>
            </a:r>
          </a:p>
          <a:p>
            <a:pPr lvl="4"/>
            <a:r>
              <a:rPr lang="en-GB" altLang="en-US"/>
              <a:t>Fünfte Ebene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573088"/>
            <a:ext cx="8594725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Mastertitelformat bearbeiten</a:t>
            </a:r>
          </a:p>
        </p:txBody>
      </p:sp>
      <p:sp>
        <p:nvSpPr>
          <p:cNvPr id="1031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1032" name="Rectangle 2"/>
          <p:cNvSpPr>
            <a:spLocks noChangeArrowheads="1"/>
          </p:cNvSpPr>
          <p:nvPr/>
        </p:nvSpPr>
        <p:spPr bwMode="auto">
          <a:xfrm>
            <a:off x="0" y="-25400"/>
            <a:ext cx="9144000" cy="36830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en-GB" altLang="en-US">
              <a:solidFill>
                <a:srgbClr val="585858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3403A8-4E0F-A7EF-5250-CCD3939DE0E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7966075" y="63500"/>
            <a:ext cx="11493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B-RESTRICTED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94" r:id="rId1"/>
    <p:sldLayoutId id="2147486295" r:id="rId2"/>
    <p:sldLayoutId id="2147486297" r:id="rId3"/>
    <p:sldLayoutId id="2147486298" r:id="rId4"/>
    <p:sldLayoutId id="2147486299" r:id="rId5"/>
    <p:sldLayoutId id="2147486300" r:id="rId6"/>
    <p:sldLayoutId id="2147486301" r:id="rId7"/>
    <p:sldLayoutId id="2147486302" r:id="rId8"/>
    <p:sldLayoutId id="2147486303" r:id="rId9"/>
    <p:sldLayoutId id="2147486304" r:id="rId10"/>
    <p:sldLayoutId id="2147486305" r:id="rId11"/>
    <p:sldLayoutId id="2147486306" r:id="rId12"/>
    <p:sldLayoutId id="2147486307" r:id="rId13"/>
    <p:sldLayoutId id="2147486316" r:id="rId14"/>
    <p:sldLayoutId id="2147486308" r:id="rId15"/>
    <p:sldLayoutId id="2147486311" r:id="rId16"/>
    <p:sldLayoutId id="2147486312" r:id="rId17"/>
    <p:sldLayoutId id="2147486314" r:id="rId18"/>
  </p:sldLayoutIdLst>
  <p:hf hdr="0" dt="0"/>
  <p:txStyles>
    <p:titleStyle>
      <a:lvl1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n-lt"/>
          <a:ea typeface="+mj-ea"/>
          <a:cs typeface="+mj-cs"/>
        </a:defRPr>
      </a:lvl1pPr>
      <a:lvl2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cs typeface="Arial" charset="0"/>
        </a:defRPr>
      </a:lvl2pPr>
      <a:lvl3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cs typeface="Arial" charset="0"/>
        </a:defRPr>
      </a:lvl3pPr>
      <a:lvl4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cs typeface="Arial" charset="0"/>
        </a:defRPr>
      </a:lvl4pPr>
      <a:lvl5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cs typeface="Arial" charset="0"/>
        </a:defRPr>
      </a:lvl5pPr>
      <a:lvl6pPr marL="4572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Black" pitchFamily="34" charset="0"/>
          <a:cs typeface="Arial" charset="0"/>
        </a:defRPr>
      </a:lvl6pPr>
      <a:lvl7pPr marL="9144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Black" pitchFamily="34" charset="0"/>
          <a:cs typeface="Arial" charset="0"/>
        </a:defRPr>
      </a:lvl7pPr>
      <a:lvl8pPr marL="13716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Black" pitchFamily="34" charset="0"/>
          <a:cs typeface="Arial" charset="0"/>
        </a:defRPr>
      </a:lvl8pPr>
      <a:lvl9pPr marL="18288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Black" pitchFamily="34" charset="0"/>
          <a:cs typeface="Arial" charset="0"/>
        </a:defRPr>
      </a:lvl9pPr>
    </p:titleStyle>
    <p:bodyStyle>
      <a:lvl1pPr algn="l" rtl="0" eaLnBrk="1" fontAlgn="base" hangingPunct="1">
        <a:spcBef>
          <a:spcPct val="30000"/>
        </a:spcBef>
        <a:spcAft>
          <a:spcPct val="0"/>
        </a:spcAft>
        <a:buClr>
          <a:schemeClr val="tx2"/>
        </a:buClr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29845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+mn-lt"/>
          <a:cs typeface="+mn-cs"/>
        </a:defRPr>
      </a:lvl2pPr>
      <a:lvl3pPr marL="5969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+mn-lt"/>
          <a:cs typeface="+mn-cs"/>
        </a:defRPr>
      </a:lvl3pPr>
      <a:lvl4pPr marL="9144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+mn-lt"/>
          <a:cs typeface="+mn-cs"/>
        </a:defRPr>
      </a:lvl4pPr>
      <a:lvl5pPr marL="1219200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defRPr sz="1600" i="1">
          <a:solidFill>
            <a:schemeClr val="tx1"/>
          </a:solidFill>
          <a:latin typeface="+mn-lt"/>
          <a:cs typeface="+mn-cs"/>
        </a:defRPr>
      </a:lvl5pPr>
      <a:lvl6pPr marL="1981200" indent="-303213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1600" i="1">
          <a:solidFill>
            <a:schemeClr val="tx1"/>
          </a:solidFill>
          <a:latin typeface="+mn-lt"/>
          <a:cs typeface="+mn-cs"/>
        </a:defRPr>
      </a:lvl6pPr>
      <a:lvl7pPr marL="2438400" indent="-303213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1600" i="1">
          <a:solidFill>
            <a:schemeClr val="tx1"/>
          </a:solidFill>
          <a:latin typeface="+mn-lt"/>
          <a:cs typeface="+mn-cs"/>
        </a:defRPr>
      </a:lvl7pPr>
      <a:lvl8pPr marL="2895600" indent="-303213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1600" i="1">
          <a:solidFill>
            <a:schemeClr val="tx1"/>
          </a:solidFill>
          <a:latin typeface="+mn-lt"/>
          <a:cs typeface="+mn-cs"/>
        </a:defRPr>
      </a:lvl8pPr>
      <a:lvl9pPr marL="3352800" indent="-303213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1600" i="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D45DF28-24C1-CBC9-EEDF-E74DB0C01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554236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46" imgH="346" progId="TCLayout.ActiveDocument.1">
                  <p:embed/>
                </p:oleObj>
              </mc:Choice>
              <mc:Fallback>
                <p:oleObj name="think-cell Slide" r:id="rId22" imgW="346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3"/>
          <p:cNvSpPr>
            <a:spLocks noChangeArrowheads="1"/>
          </p:cNvSpPr>
          <p:nvPr/>
        </p:nvSpPr>
        <p:spPr bwMode="auto">
          <a:xfrm>
            <a:off x="271463" y="77788"/>
            <a:ext cx="6502400" cy="277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GB" altLang="en-US">
                <a:solidFill>
                  <a:srgbClr val="FFFFFF"/>
                </a:solidFill>
                <a:ea typeface="ヒラギノ角ゴ Pro W3"/>
                <a:cs typeface="ヒラギノ角ゴ Pro W3"/>
              </a:rPr>
              <a:t>Rubric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50938"/>
            <a:ext cx="8194675" cy="3351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Mastertextformat bearbeiten</a:t>
            </a:r>
          </a:p>
          <a:p>
            <a:pPr lvl="1"/>
            <a:r>
              <a:rPr lang="en-GB" altLang="en-US"/>
              <a:t>Zweite Ebene</a:t>
            </a:r>
          </a:p>
          <a:p>
            <a:pPr lvl="2"/>
            <a:r>
              <a:rPr lang="en-GB" altLang="en-US"/>
              <a:t>Dritte Ebene</a:t>
            </a:r>
          </a:p>
          <a:p>
            <a:pPr lvl="3"/>
            <a:r>
              <a:rPr lang="en-GB" altLang="en-US"/>
              <a:t>Vierte Ebene</a:t>
            </a:r>
          </a:p>
          <a:p>
            <a:pPr lvl="4"/>
            <a:r>
              <a:rPr lang="en-GB" altLang="en-US"/>
              <a:t>Fünfte Ebene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573088"/>
            <a:ext cx="8594725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Mastertitelformat bearbeiten</a:t>
            </a:r>
          </a:p>
        </p:txBody>
      </p:sp>
      <p:sp>
        <p:nvSpPr>
          <p:cNvPr id="1031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1032" name="Rectangle 2"/>
          <p:cNvSpPr>
            <a:spLocks noChangeArrowheads="1"/>
          </p:cNvSpPr>
          <p:nvPr/>
        </p:nvSpPr>
        <p:spPr bwMode="auto">
          <a:xfrm>
            <a:off x="0" y="-25400"/>
            <a:ext cx="9144000" cy="36830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en-GB" altLang="en-US">
              <a:solidFill>
                <a:srgbClr val="585858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158AF5E-68B5-E268-65D6-C9CFE945EFB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7966075" y="63500"/>
            <a:ext cx="11493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B-RESTRICTED</a:t>
            </a:r>
          </a:p>
        </p:txBody>
      </p:sp>
    </p:spTree>
    <p:extLst>
      <p:ext uri="{BB962C8B-B14F-4D97-AF65-F5344CB8AC3E}">
        <p14:creationId xmlns:p14="http://schemas.microsoft.com/office/powerpoint/2010/main" val="113328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19" r:id="rId1"/>
    <p:sldLayoutId id="2147486320" r:id="rId2"/>
    <p:sldLayoutId id="2147486321" r:id="rId3"/>
    <p:sldLayoutId id="2147486322" r:id="rId4"/>
    <p:sldLayoutId id="2147486323" r:id="rId5"/>
    <p:sldLayoutId id="2147486324" r:id="rId6"/>
    <p:sldLayoutId id="2147486325" r:id="rId7"/>
    <p:sldLayoutId id="2147486326" r:id="rId8"/>
    <p:sldLayoutId id="2147486327" r:id="rId9"/>
    <p:sldLayoutId id="2147486328" r:id="rId10"/>
    <p:sldLayoutId id="2147486329" r:id="rId11"/>
    <p:sldLayoutId id="2147486330" r:id="rId12"/>
    <p:sldLayoutId id="2147486331" r:id="rId13"/>
    <p:sldLayoutId id="2147486332" r:id="rId14"/>
    <p:sldLayoutId id="2147486333" r:id="rId15"/>
    <p:sldLayoutId id="2147486334" r:id="rId16"/>
    <p:sldLayoutId id="2147486335" r:id="rId17"/>
    <p:sldLayoutId id="2147486336" r:id="rId18"/>
    <p:sldLayoutId id="2147486337" r:id="rId19"/>
  </p:sldLayoutIdLst>
  <p:hf hdr="0" dt="0"/>
  <p:txStyles>
    <p:titleStyle>
      <a:lvl1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n-lt"/>
          <a:ea typeface="+mj-ea"/>
          <a:cs typeface="+mj-cs"/>
        </a:defRPr>
      </a:lvl1pPr>
      <a:lvl2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cs typeface="Arial" charset="0"/>
        </a:defRPr>
      </a:lvl2pPr>
      <a:lvl3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cs typeface="Arial" charset="0"/>
        </a:defRPr>
      </a:lvl3pPr>
      <a:lvl4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cs typeface="Arial" charset="0"/>
        </a:defRPr>
      </a:lvl4pPr>
      <a:lvl5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cs typeface="Arial" charset="0"/>
        </a:defRPr>
      </a:lvl5pPr>
      <a:lvl6pPr marL="4572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Black" pitchFamily="34" charset="0"/>
          <a:cs typeface="Arial" charset="0"/>
        </a:defRPr>
      </a:lvl6pPr>
      <a:lvl7pPr marL="9144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Black" pitchFamily="34" charset="0"/>
          <a:cs typeface="Arial" charset="0"/>
        </a:defRPr>
      </a:lvl7pPr>
      <a:lvl8pPr marL="13716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Black" pitchFamily="34" charset="0"/>
          <a:cs typeface="Arial" charset="0"/>
        </a:defRPr>
      </a:lvl8pPr>
      <a:lvl9pPr marL="18288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Black" pitchFamily="34" charset="0"/>
          <a:cs typeface="Arial" charset="0"/>
        </a:defRPr>
      </a:lvl9pPr>
    </p:titleStyle>
    <p:bodyStyle>
      <a:lvl1pPr algn="l" rtl="0" eaLnBrk="1" fontAlgn="base" hangingPunct="1">
        <a:spcBef>
          <a:spcPct val="30000"/>
        </a:spcBef>
        <a:spcAft>
          <a:spcPct val="0"/>
        </a:spcAft>
        <a:buClr>
          <a:schemeClr val="tx2"/>
        </a:buClr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29845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+mn-lt"/>
          <a:cs typeface="+mn-cs"/>
        </a:defRPr>
      </a:lvl2pPr>
      <a:lvl3pPr marL="5969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+mn-lt"/>
          <a:cs typeface="+mn-cs"/>
        </a:defRPr>
      </a:lvl3pPr>
      <a:lvl4pPr marL="9144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+mn-lt"/>
          <a:cs typeface="+mn-cs"/>
        </a:defRPr>
      </a:lvl4pPr>
      <a:lvl5pPr marL="1219200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defRPr sz="1600" i="1">
          <a:solidFill>
            <a:schemeClr val="tx1"/>
          </a:solidFill>
          <a:latin typeface="+mn-lt"/>
          <a:cs typeface="+mn-cs"/>
        </a:defRPr>
      </a:lvl5pPr>
      <a:lvl6pPr marL="1981200" indent="-303213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1600" i="1">
          <a:solidFill>
            <a:schemeClr val="tx1"/>
          </a:solidFill>
          <a:latin typeface="+mn-lt"/>
          <a:cs typeface="+mn-cs"/>
        </a:defRPr>
      </a:lvl6pPr>
      <a:lvl7pPr marL="2438400" indent="-303213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1600" i="1">
          <a:solidFill>
            <a:schemeClr val="tx1"/>
          </a:solidFill>
          <a:latin typeface="+mn-lt"/>
          <a:cs typeface="+mn-cs"/>
        </a:defRPr>
      </a:lvl7pPr>
      <a:lvl8pPr marL="2895600" indent="-303213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1600" i="1">
          <a:solidFill>
            <a:schemeClr val="tx1"/>
          </a:solidFill>
          <a:latin typeface="+mn-lt"/>
          <a:cs typeface="+mn-cs"/>
        </a:defRPr>
      </a:lvl8pPr>
      <a:lvl9pPr marL="3352800" indent="-303213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1600" i="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5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6"/>
          <p:cNvSpPr>
            <a:spLocks noGrp="1"/>
          </p:cNvSpPr>
          <p:nvPr>
            <p:ph type="ctrTitle"/>
          </p:nvPr>
        </p:nvSpPr>
        <p:spPr>
          <a:xfrm>
            <a:off x="217646" y="1436535"/>
            <a:ext cx="4099560" cy="1458913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altLang="en-US" sz="2800" dirty="0"/>
              <a:t>The 2026 European Semester Autumn Package</a:t>
            </a:r>
            <a:endParaRPr lang="en-GB" altLang="en-US" sz="2800" i="1" dirty="0"/>
          </a:p>
        </p:txBody>
      </p:sp>
      <p:sp>
        <p:nvSpPr>
          <p:cNvPr id="24579" name="Subtitle 8"/>
          <p:cNvSpPr>
            <a:spLocks noGrp="1"/>
          </p:cNvSpPr>
          <p:nvPr>
            <p:ph type="subTitle" idx="4294967295"/>
          </p:nvPr>
        </p:nvSpPr>
        <p:spPr>
          <a:xfrm>
            <a:off x="217646" y="2974402"/>
            <a:ext cx="3152617" cy="1436535"/>
          </a:xfrm>
        </p:spPr>
        <p:txBody>
          <a:bodyPr/>
          <a:lstStyle/>
          <a:p>
            <a:pPr eaLnBrk="1" hangingPunct="1">
              <a:lnSpc>
                <a:spcPts val="2400"/>
              </a:lnSpc>
            </a:pPr>
            <a:endParaRPr lang="en-GB" altLang="en-US" sz="1600" dirty="0">
              <a:solidFill>
                <a:schemeClr val="tx2"/>
              </a:solidFill>
            </a:endParaRPr>
          </a:p>
          <a:p>
            <a:pPr eaLnBrk="1" hangingPunct="1">
              <a:lnSpc>
                <a:spcPts val="2400"/>
              </a:lnSpc>
            </a:pPr>
            <a:r>
              <a:rPr lang="en-GB" altLang="en-US" sz="1600" b="1" dirty="0">
                <a:solidFill>
                  <a:schemeClr val="tx2"/>
                </a:solidFill>
              </a:rPr>
              <a:t>38</a:t>
            </a:r>
            <a:r>
              <a:rPr lang="en-GB" altLang="en-US" sz="1600" b="1" baseline="30000" dirty="0">
                <a:solidFill>
                  <a:schemeClr val="tx2"/>
                </a:solidFill>
              </a:rPr>
              <a:t>th</a:t>
            </a:r>
            <a:r>
              <a:rPr lang="en-GB" altLang="en-US" sz="1600" b="1" dirty="0">
                <a:solidFill>
                  <a:schemeClr val="tx2"/>
                </a:solidFill>
              </a:rPr>
              <a:t> European Semester Group meeting </a:t>
            </a:r>
            <a:br>
              <a:rPr lang="en-DE" altLang="en-US" sz="1600" b="1" dirty="0">
                <a:solidFill>
                  <a:schemeClr val="tx2"/>
                </a:solidFill>
              </a:rPr>
            </a:br>
            <a:endParaRPr lang="en-US" altLang="en-US" sz="1600" dirty="0">
              <a:solidFill>
                <a:schemeClr val="tx2"/>
              </a:solidFill>
            </a:endParaRPr>
          </a:p>
        </p:txBody>
      </p:sp>
      <p:pic>
        <p:nvPicPr>
          <p:cNvPr id="13" name="Picture Placeholder 12"/>
          <p:cNvPicPr>
            <a:picLocks noGrp="1" noChangeAspect="1"/>
          </p:cNvPicPr>
          <p:nvPr>
            <p:ph type="pic" sz="quarter" idx="22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4585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68313" y="4408488"/>
            <a:ext cx="2543175" cy="666750"/>
          </a:xfrm>
        </p:spPr>
        <p:txBody>
          <a:bodyPr anchor="ctr"/>
          <a:lstStyle/>
          <a:p>
            <a:pPr eaLnBrk="1" hangingPunct="1">
              <a:spcBef>
                <a:spcPct val="0"/>
              </a:spcBef>
            </a:pPr>
            <a:r>
              <a:rPr lang="en-US" altLang="en-US" sz="1600" b="1" dirty="0">
                <a:solidFill>
                  <a:schemeClr val="bg1"/>
                </a:solidFill>
              </a:rPr>
              <a:t>09</a:t>
            </a:r>
            <a:r>
              <a:rPr lang="en-GB" altLang="en-US" sz="1600" b="1" dirty="0">
                <a:solidFill>
                  <a:schemeClr val="bg1"/>
                </a:solidFill>
              </a:rPr>
              <a:t>/</a:t>
            </a:r>
            <a:r>
              <a:rPr lang="en-DE" altLang="en-US" sz="1600" b="1" dirty="0">
                <a:solidFill>
                  <a:schemeClr val="bg1"/>
                </a:solidFill>
              </a:rPr>
              <a:t>1</a:t>
            </a:r>
            <a:r>
              <a:rPr lang="en-US" altLang="en-US" sz="1600" b="1" dirty="0">
                <a:solidFill>
                  <a:schemeClr val="bg1"/>
                </a:solidFill>
              </a:rPr>
              <a:t>2/</a:t>
            </a:r>
            <a:r>
              <a:rPr lang="en-GB" altLang="en-US" sz="1600" b="1" dirty="0">
                <a:solidFill>
                  <a:schemeClr val="bg1"/>
                </a:solidFill>
              </a:rPr>
              <a:t>2025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EF285C8F-CA4E-155A-20B0-38E5BAAABF7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512820" y="4331983"/>
            <a:ext cx="5561214" cy="665162"/>
          </a:xfrm>
        </p:spPr>
        <p:txBody>
          <a:bodyPr anchor="ctr"/>
          <a:lstStyle/>
          <a:p>
            <a:pPr algn="r" eaLnBrk="1" hangingPunct="1">
              <a:spcBef>
                <a:spcPct val="0"/>
              </a:spcBef>
            </a:pPr>
            <a:endParaRPr lang="en-DE" altLang="en-US" sz="1200" dirty="0">
              <a:solidFill>
                <a:srgbClr val="003299"/>
              </a:solidFill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sz="1000" dirty="0">
                <a:solidFill>
                  <a:srgbClr val="003299"/>
                </a:solidFill>
              </a:rPr>
              <a:t>Naïm Cordemans</a:t>
            </a:r>
            <a:r>
              <a:rPr lang="en-GB" altLang="en-US" sz="1000" dirty="0">
                <a:solidFill>
                  <a:srgbClr val="003299"/>
                </a:solidFill>
              </a:rPr>
              <a:t>, European Central Bank</a:t>
            </a:r>
            <a:r>
              <a:rPr lang="en-DE" altLang="en-US" sz="1000" dirty="0">
                <a:solidFill>
                  <a:srgbClr val="003299"/>
                </a:solidFill>
              </a:rPr>
              <a:t>, </a:t>
            </a:r>
            <a:r>
              <a:rPr lang="en-US" altLang="en-US" sz="1000" dirty="0">
                <a:solidFill>
                  <a:srgbClr val="003299"/>
                </a:solidFill>
              </a:rPr>
              <a:t>Representative Office in Brussels</a:t>
            </a:r>
            <a:endParaRPr lang="en-GB" altLang="en-US" sz="1000" dirty="0">
              <a:solidFill>
                <a:srgbClr val="003299"/>
              </a:solidFill>
            </a:endParaRPr>
          </a:p>
          <a:p>
            <a:pPr eaLnBrk="1" hangingPunct="1">
              <a:spcBef>
                <a:spcPct val="0"/>
              </a:spcBef>
            </a:pPr>
            <a:r>
              <a:rPr lang="en-GB" altLang="en-US" sz="1000" dirty="0">
                <a:solidFill>
                  <a:srgbClr val="003299"/>
                </a:solidFill>
              </a:rPr>
              <a:t>Disclaimer: Views expressed in this presentation do not necessarily reflect those of the ECB. 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69D0458-D543-33E4-C081-5276CB53E4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6" imgH="346" progId="TCLayout.ActiveDocument.1">
                  <p:embed/>
                </p:oleObj>
              </mc:Choice>
              <mc:Fallback>
                <p:oleObj name="think-cell Slide" r:id="rId4" imgW="346" imgH="34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9D0458-D543-33E4-C081-5276CB53E4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83FAE5D-D381-4F89-A2F1-976D502FCE2E}"/>
              </a:ext>
            </a:extLst>
          </p:cNvPr>
          <p:cNvSpPr/>
          <p:nvPr/>
        </p:nvSpPr>
        <p:spPr bwMode="auto">
          <a:xfrm>
            <a:off x="0" y="0"/>
            <a:ext cx="9144000" cy="1041009"/>
          </a:xfrm>
          <a:prstGeom prst="rect">
            <a:avLst/>
          </a:prstGeom>
          <a:noFill/>
          <a:ln w="9525" cap="flat" cmpd="sng" algn="ctr">
            <a:solidFill>
              <a:srgbClr val="F9F9F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 charset="0"/>
              <a:ea typeface="ヒラギノ角ゴ Pro W3" pitchFamily="-64" charset="-128"/>
              <a:cs typeface="Arial" pitchFamily="34" charset="0"/>
            </a:endParaRPr>
          </a:p>
        </p:txBody>
      </p:sp>
      <p:cxnSp>
        <p:nvCxnSpPr>
          <p:cNvPr id="39938" name="Straight Connector 1"/>
          <p:cNvCxnSpPr>
            <a:cxnSpLocks noChangeShapeType="1"/>
          </p:cNvCxnSpPr>
          <p:nvPr/>
        </p:nvCxnSpPr>
        <p:spPr bwMode="auto">
          <a:xfrm>
            <a:off x="0" y="0"/>
            <a:ext cx="914400" cy="0"/>
          </a:xfrm>
          <a:prstGeom prst="line">
            <a:avLst/>
          </a:prstGeom>
          <a:noFill/>
          <a:ln w="0" algn="ctr">
            <a:solidFill>
              <a:srgbClr val="FB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044000"/>
          </a:xfrm>
          <a:solidFill>
            <a:schemeClr val="bg1">
              <a:lumMod val="95000"/>
            </a:schemeClr>
          </a:solidFill>
        </p:spPr>
        <p:txBody>
          <a:bodyPr vert="horz" lIns="108000" anchor="ctr"/>
          <a:lstStyle/>
          <a:p>
            <a:pPr>
              <a:lnSpc>
                <a:spcPts val="2800"/>
              </a:lnSpc>
              <a:defRPr/>
            </a:pPr>
            <a:r>
              <a:rPr lang="en-GB" altLang="en-US" sz="2400" b="1" dirty="0"/>
              <a:t> M</a:t>
            </a:r>
            <a:r>
              <a:rPr lang="en-DE" altLang="en-US" sz="2400" b="1" dirty="0"/>
              <a:t>onetary Policy Statement of </a:t>
            </a:r>
            <a:r>
              <a:rPr lang="en-US" altLang="en-US" sz="2400" b="1" dirty="0"/>
              <a:t>30</a:t>
            </a:r>
            <a:r>
              <a:rPr lang="en-DE" altLang="en-US" sz="2400" b="1" dirty="0"/>
              <a:t> October</a:t>
            </a:r>
            <a:r>
              <a:rPr lang="en-US" altLang="en-US" sz="2400" b="1" dirty="0"/>
              <a:t> 2025</a:t>
            </a:r>
            <a:endParaRPr lang="en-GB" altLang="en-US" sz="2400" b="1" dirty="0"/>
          </a:p>
        </p:txBody>
      </p:sp>
      <p:sp>
        <p:nvSpPr>
          <p:cNvPr id="39941" name="Slide Number Placeholder 4"/>
          <p:cNvSpPr>
            <a:spLocks noGrp="1"/>
          </p:cNvSpPr>
          <p:nvPr>
            <p:ph type="sldNum" sz="quarter" idx="10"/>
          </p:nvPr>
        </p:nvSpPr>
        <p:spPr bwMode="auto">
          <a:xfrm>
            <a:off x="4357688" y="4857750"/>
            <a:ext cx="414337" cy="136525"/>
          </a:xfrm>
          <a:noFill/>
        </p:spPr>
        <p:txBody>
          <a:bodyPr vert="horz"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55DA97-E807-44DE-981C-D28726AB97F3}" type="slidenum"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ヒラギノ角ゴ Pro W3"/>
                <a:cs typeface="ヒラギノ角ゴ Pro W3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1EBF97C-8B6A-7E18-1DE9-A84743586309}"/>
              </a:ext>
            </a:extLst>
          </p:cNvPr>
          <p:cNvSpPr txBox="1"/>
          <p:nvPr/>
        </p:nvSpPr>
        <p:spPr>
          <a:xfrm>
            <a:off x="248194" y="1312819"/>
            <a:ext cx="8595359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200" dirty="0"/>
              <a:t>Fiscal and structural policies should boost </a:t>
            </a:r>
            <a:r>
              <a:rPr lang="en-GB" sz="2200" b="1" dirty="0"/>
              <a:t>productivity</a:t>
            </a:r>
            <a:r>
              <a:rPr lang="en-GB" sz="2200" dirty="0"/>
              <a:t>, </a:t>
            </a:r>
            <a:r>
              <a:rPr lang="en-GB" sz="2200" b="1" dirty="0"/>
              <a:t>competitiveness</a:t>
            </a:r>
            <a:r>
              <a:rPr lang="en-GB" sz="2200" dirty="0"/>
              <a:t> and </a:t>
            </a:r>
            <a:r>
              <a:rPr lang="en-GB" sz="2200" b="1" dirty="0"/>
              <a:t>resilience</a:t>
            </a:r>
            <a:r>
              <a:rPr lang="en-GB" sz="2200" dirty="0"/>
              <a:t>. 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200" dirty="0"/>
              <a:t>It is essential to </a:t>
            </a:r>
            <a:r>
              <a:rPr lang="en-GB" sz="2200" b="1" dirty="0"/>
              <a:t>implement</a:t>
            </a:r>
            <a:r>
              <a:rPr lang="en-GB" sz="2200" dirty="0"/>
              <a:t> the European Commission’s </a:t>
            </a:r>
            <a:r>
              <a:rPr lang="en-GB" sz="2200" b="1" dirty="0"/>
              <a:t>competitiveness roadmap</a:t>
            </a:r>
            <a:r>
              <a:rPr lang="en-GB" sz="2200" dirty="0"/>
              <a:t> swiftly. </a:t>
            </a:r>
            <a:endParaRPr lang="en-DE" sz="2200" dirty="0"/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200" dirty="0"/>
              <a:t>Governments should prioritise </a:t>
            </a:r>
            <a:r>
              <a:rPr lang="en-GB" sz="2200" b="1" dirty="0"/>
              <a:t>growth-enhancing structural reforms and strategic investment</a:t>
            </a:r>
            <a:r>
              <a:rPr lang="en-GB" sz="2200" dirty="0"/>
              <a:t>, while ensuring </a:t>
            </a:r>
            <a:r>
              <a:rPr lang="en-GB" sz="2200" b="1" dirty="0"/>
              <a:t>sustainable public finances</a:t>
            </a:r>
            <a:r>
              <a:rPr lang="en-GB" sz="2200" dirty="0"/>
              <a:t>.  </a:t>
            </a:r>
            <a:endParaRPr lang="en-DE" sz="2200" dirty="0"/>
          </a:p>
        </p:txBody>
      </p:sp>
    </p:spTree>
    <p:extLst>
      <p:ext uri="{BB962C8B-B14F-4D97-AF65-F5344CB8AC3E}">
        <p14:creationId xmlns:p14="http://schemas.microsoft.com/office/powerpoint/2010/main" val="35214969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69D0458-D543-33E4-C081-5276CB53E4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6" imgH="346" progId="TCLayout.ActiveDocument.1">
                  <p:embed/>
                </p:oleObj>
              </mc:Choice>
              <mc:Fallback>
                <p:oleObj name="think-cell Slide" r:id="rId4" imgW="346" imgH="34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9D0458-D543-33E4-C081-5276CB53E4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83FAE5D-D381-4F89-A2F1-976D502FCE2E}"/>
              </a:ext>
            </a:extLst>
          </p:cNvPr>
          <p:cNvSpPr/>
          <p:nvPr/>
        </p:nvSpPr>
        <p:spPr bwMode="auto">
          <a:xfrm>
            <a:off x="0" y="0"/>
            <a:ext cx="9144000" cy="1041009"/>
          </a:xfrm>
          <a:prstGeom prst="rect">
            <a:avLst/>
          </a:prstGeom>
          <a:noFill/>
          <a:ln w="9525" cap="flat" cmpd="sng" algn="ctr">
            <a:solidFill>
              <a:srgbClr val="F9F9F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 charset="0"/>
              <a:ea typeface="ヒラギノ角ゴ Pro W3" pitchFamily="-64" charset="-128"/>
              <a:cs typeface="Arial" pitchFamily="34" charset="0"/>
            </a:endParaRPr>
          </a:p>
        </p:txBody>
      </p:sp>
      <p:cxnSp>
        <p:nvCxnSpPr>
          <p:cNvPr id="39938" name="Straight Connector 1"/>
          <p:cNvCxnSpPr>
            <a:cxnSpLocks noChangeShapeType="1"/>
          </p:cNvCxnSpPr>
          <p:nvPr/>
        </p:nvCxnSpPr>
        <p:spPr bwMode="auto">
          <a:xfrm>
            <a:off x="0" y="0"/>
            <a:ext cx="914400" cy="0"/>
          </a:xfrm>
          <a:prstGeom prst="line">
            <a:avLst/>
          </a:prstGeom>
          <a:noFill/>
          <a:ln w="0" algn="ctr">
            <a:solidFill>
              <a:srgbClr val="FB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044000"/>
          </a:xfrm>
          <a:solidFill>
            <a:schemeClr val="bg1">
              <a:lumMod val="95000"/>
            </a:schemeClr>
          </a:solidFill>
        </p:spPr>
        <p:txBody>
          <a:bodyPr vert="horz" lIns="108000" anchor="ctr"/>
          <a:lstStyle/>
          <a:p>
            <a:pPr>
              <a:lnSpc>
                <a:spcPts val="2800"/>
              </a:lnSpc>
              <a:defRPr/>
            </a:pPr>
            <a:r>
              <a:rPr lang="en-US" altLang="en-US" sz="2400" b="1" dirty="0"/>
              <a:t> P</a:t>
            </a:r>
            <a:r>
              <a:rPr lang="en-GB" altLang="en-US" sz="2400" b="1" dirty="0" err="1"/>
              <a:t>olicy</a:t>
            </a:r>
            <a:r>
              <a:rPr lang="en-GB" altLang="en-US" sz="2400" b="1" dirty="0"/>
              <a:t> challenges: doing more with less  </a:t>
            </a:r>
          </a:p>
        </p:txBody>
      </p:sp>
      <p:sp>
        <p:nvSpPr>
          <p:cNvPr id="39941" name="Slide Number Placeholder 4"/>
          <p:cNvSpPr>
            <a:spLocks noGrp="1"/>
          </p:cNvSpPr>
          <p:nvPr>
            <p:ph type="sldNum" sz="quarter" idx="10"/>
          </p:nvPr>
        </p:nvSpPr>
        <p:spPr bwMode="auto">
          <a:xfrm>
            <a:off x="4357688" y="4857750"/>
            <a:ext cx="414337" cy="136525"/>
          </a:xfrm>
          <a:noFill/>
        </p:spPr>
        <p:txBody>
          <a:bodyPr vert="horz"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55DA97-E807-44DE-981C-D28726AB97F3}" type="slidenum"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ヒラギノ角ゴ Pro W3"/>
                <a:cs typeface="ヒラギノ角ゴ Pro W3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1EBF97C-8B6A-7E18-1DE9-A84743586309}"/>
              </a:ext>
            </a:extLst>
          </p:cNvPr>
          <p:cNvSpPr txBox="1"/>
          <p:nvPr/>
        </p:nvSpPr>
        <p:spPr>
          <a:xfrm>
            <a:off x="182880" y="1339509"/>
            <a:ext cx="4174808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7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The EU </a:t>
            </a:r>
            <a:r>
              <a:rPr lang="en-US" sz="17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s facing unprecedented challenges </a:t>
            </a:r>
            <a:r>
              <a:rPr lang="en-DE" sz="17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1700" i="0" dirty="0">
                <a:solidFill>
                  <a:srgbClr val="555555"/>
                </a:solidFill>
                <a:effectLst/>
                <a:latin typeface="Open Sans" panose="020B0606030504020204" pitchFamily="34" charset="0"/>
              </a:rPr>
              <a:t>green and digital transitions</a:t>
            </a:r>
            <a:r>
              <a:rPr lang="en-DE" sz="1700" i="0" dirty="0">
                <a:solidFill>
                  <a:srgbClr val="555555"/>
                </a:solidFill>
                <a:effectLst/>
                <a:latin typeface="Open Sans" panose="020B0606030504020204" pitchFamily="34" charset="0"/>
              </a:rPr>
              <a:t>,</a:t>
            </a:r>
            <a:r>
              <a:rPr lang="en-GB" sz="1700" i="0" dirty="0">
                <a:solidFill>
                  <a:srgbClr val="555555"/>
                </a:solidFill>
                <a:effectLst/>
                <a:latin typeface="Open Sans" panose="020B0606030504020204" pitchFamily="34" charset="0"/>
              </a:rPr>
              <a:t> ageing, economic security, competitiveness and defence</a:t>
            </a:r>
            <a:r>
              <a:rPr lang="en-DE" sz="1700" i="0" dirty="0">
                <a:solidFill>
                  <a:srgbClr val="555555"/>
                </a:solidFill>
                <a:effectLst/>
                <a:latin typeface="Open Sans" panose="020B0606030504020204" pitchFamily="34" charset="0"/>
              </a:rPr>
              <a:t>)</a:t>
            </a:r>
            <a:endParaRPr lang="en-DE" sz="17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7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en-US" sz="17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ited fiscal space </a:t>
            </a:r>
            <a:r>
              <a:rPr lang="en-DE" sz="17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in countries with debt challenges</a:t>
            </a:r>
            <a:endParaRPr lang="en-US" sz="1700" b="1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7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Euro area </a:t>
            </a:r>
            <a:r>
              <a:rPr lang="en-US" sz="17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iscal position has recently improved, but remains under pressure</a:t>
            </a:r>
            <a:endParaRPr lang="en-GB" sz="17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4A6720-BA75-5377-9C8C-9C9E62A5388F}"/>
              </a:ext>
            </a:extLst>
          </p:cNvPr>
          <p:cNvSpPr txBox="1"/>
          <p:nvPr/>
        </p:nvSpPr>
        <p:spPr>
          <a:xfrm>
            <a:off x="4401851" y="4414375"/>
            <a:ext cx="39313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585858"/>
                </a:solidFill>
              </a:rPr>
              <a:t>Source: European Commission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8E6B3420-DC2B-E224-8B93-0FEE3F6B09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06241" y="1438366"/>
            <a:ext cx="4777048" cy="3022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2">
            <a:extLst>
              <a:ext uri="{FF2B5EF4-FFF2-40B4-BE49-F238E27FC236}">
                <a16:creationId xmlns:a16="http://schemas.microsoft.com/office/drawing/2014/main" id="{79596D04-27D8-EE90-F7D6-47F30C04258B}"/>
              </a:ext>
            </a:extLst>
          </p:cNvPr>
          <p:cNvSpPr txBox="1">
            <a:spLocks/>
          </p:cNvSpPr>
          <p:nvPr/>
        </p:nvSpPr>
        <p:spPr bwMode="auto">
          <a:xfrm>
            <a:off x="4706912" y="1124377"/>
            <a:ext cx="3760228" cy="330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lang="en-GB" altLang="en-US" sz="28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2pPr>
            <a:lvl3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3pPr>
            <a:lvl4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4pPr>
            <a:lvl5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9pPr>
          </a:lstStyle>
          <a:p>
            <a:r>
              <a:rPr lang="en-GB" sz="1600" b="1" dirty="0"/>
              <a:t>General government debt </a:t>
            </a:r>
            <a:r>
              <a:rPr lang="en-GB" sz="1600" dirty="0"/>
              <a:t>(% of GDP)</a:t>
            </a:r>
          </a:p>
        </p:txBody>
      </p:sp>
    </p:spTree>
    <p:extLst>
      <p:ext uri="{BB962C8B-B14F-4D97-AF65-F5344CB8AC3E}">
        <p14:creationId xmlns:p14="http://schemas.microsoft.com/office/powerpoint/2010/main" val="11776916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69D0458-D543-33E4-C081-5276CB53E4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6" imgH="346" progId="TCLayout.ActiveDocument.1">
                  <p:embed/>
                </p:oleObj>
              </mc:Choice>
              <mc:Fallback>
                <p:oleObj name="think-cell Slide" r:id="rId4" imgW="346" imgH="34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9D0458-D543-33E4-C081-5276CB53E4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83FAE5D-D381-4F89-A2F1-976D502FCE2E}"/>
              </a:ext>
            </a:extLst>
          </p:cNvPr>
          <p:cNvSpPr/>
          <p:nvPr/>
        </p:nvSpPr>
        <p:spPr bwMode="auto">
          <a:xfrm>
            <a:off x="0" y="0"/>
            <a:ext cx="9144000" cy="1041009"/>
          </a:xfrm>
          <a:prstGeom prst="rect">
            <a:avLst/>
          </a:prstGeom>
          <a:noFill/>
          <a:ln w="9525" cap="flat" cmpd="sng" algn="ctr">
            <a:solidFill>
              <a:srgbClr val="F9F9F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 charset="0"/>
              <a:ea typeface="ヒラギノ角ゴ Pro W3" pitchFamily="-64" charset="-128"/>
              <a:cs typeface="Arial" pitchFamily="34" charset="0"/>
            </a:endParaRPr>
          </a:p>
        </p:txBody>
      </p:sp>
      <p:cxnSp>
        <p:nvCxnSpPr>
          <p:cNvPr id="39938" name="Straight Connector 1"/>
          <p:cNvCxnSpPr>
            <a:cxnSpLocks noChangeShapeType="1"/>
          </p:cNvCxnSpPr>
          <p:nvPr/>
        </p:nvCxnSpPr>
        <p:spPr bwMode="auto">
          <a:xfrm>
            <a:off x="0" y="0"/>
            <a:ext cx="914400" cy="0"/>
          </a:xfrm>
          <a:prstGeom prst="line">
            <a:avLst/>
          </a:prstGeom>
          <a:noFill/>
          <a:ln w="0" algn="ctr">
            <a:solidFill>
              <a:srgbClr val="FB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044000"/>
          </a:xfrm>
          <a:solidFill>
            <a:schemeClr val="bg1">
              <a:lumMod val="95000"/>
            </a:schemeClr>
          </a:solidFill>
        </p:spPr>
        <p:txBody>
          <a:bodyPr vert="horz" lIns="108000" anchor="ctr"/>
          <a:lstStyle/>
          <a:p>
            <a:pPr>
              <a:lnSpc>
                <a:spcPts val="2800"/>
              </a:lnSpc>
              <a:defRPr/>
            </a:pPr>
            <a:r>
              <a:rPr lang="en-GB" altLang="en-US" sz="2400" b="1" dirty="0"/>
              <a:t> Europe must build on its strengths …</a:t>
            </a:r>
            <a:r>
              <a:rPr lang="en-US" altLang="en-US" sz="2400" b="1" dirty="0"/>
              <a:t> </a:t>
            </a:r>
            <a:endParaRPr lang="en-GB" altLang="en-US" sz="2400" b="1" dirty="0"/>
          </a:p>
        </p:txBody>
      </p:sp>
      <p:sp>
        <p:nvSpPr>
          <p:cNvPr id="39941" name="Slide Number Placeholder 4"/>
          <p:cNvSpPr>
            <a:spLocks noGrp="1"/>
          </p:cNvSpPr>
          <p:nvPr>
            <p:ph type="sldNum" sz="quarter" idx="10"/>
          </p:nvPr>
        </p:nvSpPr>
        <p:spPr bwMode="auto">
          <a:xfrm>
            <a:off x="4357688" y="4857750"/>
            <a:ext cx="414337" cy="136525"/>
          </a:xfrm>
          <a:noFill/>
        </p:spPr>
        <p:txBody>
          <a:bodyPr vert="horz"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55DA97-E807-44DE-981C-D28726AB97F3}" type="slidenum"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ヒラギノ角ゴ Pro W3"/>
                <a:cs typeface="ヒラギノ角ゴ Pro W3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1EBF97C-8B6A-7E18-1DE9-A84743586309}"/>
              </a:ext>
            </a:extLst>
          </p:cNvPr>
          <p:cNvSpPr txBox="1"/>
          <p:nvPr/>
        </p:nvSpPr>
        <p:spPr>
          <a:xfrm>
            <a:off x="171794" y="1239600"/>
            <a:ext cx="8767156" cy="31188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2000"/>
              </a:spcAft>
              <a:buFont typeface="Arial" panose="020B0604020202020204" pitchFamily="34" charset="0"/>
              <a:buChar char="•"/>
            </a:pPr>
            <a:r>
              <a:rPr lang="en-GB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A resilient economy, with a strong labour market and inflation under control</a:t>
            </a:r>
          </a:p>
          <a:p>
            <a:pPr marL="285750" indent="-285750">
              <a:spcBef>
                <a:spcPts val="1200"/>
              </a:spcBef>
              <a:spcAft>
                <a:spcPts val="2000"/>
              </a:spcAft>
              <a:buFont typeface="Arial" panose="020B0604020202020204" pitchFamily="34" charset="0"/>
              <a:buChar char="•"/>
            </a:pPr>
            <a:r>
              <a:rPr lang="en-GB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A highly educated workforce and world-class research institutions </a:t>
            </a:r>
          </a:p>
          <a:p>
            <a:pPr marL="285750" indent="-285750">
              <a:spcBef>
                <a:spcPts val="1200"/>
              </a:spcBef>
              <a:spcAft>
                <a:spcPts val="2000"/>
              </a:spcAft>
              <a:buFont typeface="Arial" panose="020B0604020202020204" pitchFamily="34" charset="0"/>
              <a:buChar char="•"/>
            </a:pPr>
            <a:r>
              <a:rPr lang="en-GB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A diversified production structure</a:t>
            </a:r>
          </a:p>
          <a:p>
            <a:pPr marL="285750" indent="-285750">
              <a:spcBef>
                <a:spcPts val="1200"/>
              </a:spcBef>
              <a:spcAft>
                <a:spcPts val="2000"/>
              </a:spcAft>
              <a:buFont typeface="Arial" panose="020B0604020202020204" pitchFamily="34" charset="0"/>
              <a:buChar char="•"/>
            </a:pPr>
            <a:r>
              <a:rPr lang="en-GB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Strong institutions and a predictable legal environment</a:t>
            </a:r>
            <a:endParaRPr lang="en-US" b="1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1200"/>
              </a:spcBef>
              <a:spcAft>
                <a:spcPts val="20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High savings and a robust financial sector  </a:t>
            </a:r>
            <a:endParaRPr lang="en-DE" b="1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42540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69D0458-D543-33E4-C081-5276CB53E4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6" imgH="346" progId="TCLayout.ActiveDocument.1">
                  <p:embed/>
                </p:oleObj>
              </mc:Choice>
              <mc:Fallback>
                <p:oleObj name="think-cell Slide" r:id="rId4" imgW="346" imgH="34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9D0458-D543-33E4-C081-5276CB53E4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83FAE5D-D381-4F89-A2F1-976D502FCE2E}"/>
              </a:ext>
            </a:extLst>
          </p:cNvPr>
          <p:cNvSpPr/>
          <p:nvPr/>
        </p:nvSpPr>
        <p:spPr bwMode="auto">
          <a:xfrm>
            <a:off x="0" y="0"/>
            <a:ext cx="9144000" cy="1041009"/>
          </a:xfrm>
          <a:prstGeom prst="rect">
            <a:avLst/>
          </a:prstGeom>
          <a:noFill/>
          <a:ln w="9525" cap="flat" cmpd="sng" algn="ctr">
            <a:solidFill>
              <a:srgbClr val="F9F9F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 charset="0"/>
              <a:ea typeface="ヒラギノ角ゴ Pro W3" pitchFamily="-64" charset="-128"/>
              <a:cs typeface="Arial" pitchFamily="34" charset="0"/>
            </a:endParaRPr>
          </a:p>
        </p:txBody>
      </p:sp>
      <p:cxnSp>
        <p:nvCxnSpPr>
          <p:cNvPr id="39938" name="Straight Connector 1"/>
          <p:cNvCxnSpPr>
            <a:cxnSpLocks noChangeShapeType="1"/>
          </p:cNvCxnSpPr>
          <p:nvPr/>
        </p:nvCxnSpPr>
        <p:spPr bwMode="auto">
          <a:xfrm>
            <a:off x="0" y="0"/>
            <a:ext cx="914400" cy="0"/>
          </a:xfrm>
          <a:prstGeom prst="line">
            <a:avLst/>
          </a:prstGeom>
          <a:noFill/>
          <a:ln w="0" algn="ctr">
            <a:solidFill>
              <a:srgbClr val="FB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044000"/>
          </a:xfrm>
          <a:solidFill>
            <a:schemeClr val="bg1">
              <a:lumMod val="95000"/>
            </a:schemeClr>
          </a:solidFill>
        </p:spPr>
        <p:txBody>
          <a:bodyPr vert="horz" lIns="108000" anchor="ctr"/>
          <a:lstStyle/>
          <a:p>
            <a:pPr>
              <a:lnSpc>
                <a:spcPts val="2800"/>
              </a:lnSpc>
              <a:defRPr/>
            </a:pPr>
            <a:r>
              <a:rPr lang="en-GB" altLang="en-US" sz="2200" b="1" dirty="0"/>
              <a:t>  ... to do better (1)</a:t>
            </a:r>
          </a:p>
        </p:txBody>
      </p:sp>
      <p:sp>
        <p:nvSpPr>
          <p:cNvPr id="39941" name="Slide Number Placeholder 4"/>
          <p:cNvSpPr>
            <a:spLocks noGrp="1"/>
          </p:cNvSpPr>
          <p:nvPr>
            <p:ph type="sldNum" sz="quarter" idx="10"/>
          </p:nvPr>
        </p:nvSpPr>
        <p:spPr bwMode="auto">
          <a:xfrm>
            <a:off x="4357688" y="4857750"/>
            <a:ext cx="414337" cy="136525"/>
          </a:xfrm>
          <a:noFill/>
        </p:spPr>
        <p:txBody>
          <a:bodyPr vert="horz"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55DA97-E807-44DE-981C-D28726AB97F3}" type="slidenum"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ヒラギノ角ゴ Pro W3"/>
                <a:cs typeface="ヒラギノ角ゴ Pro W3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1EBF97C-8B6A-7E18-1DE9-A84743586309}"/>
              </a:ext>
            </a:extLst>
          </p:cNvPr>
          <p:cNvSpPr txBox="1"/>
          <p:nvPr/>
        </p:nvSpPr>
        <p:spPr>
          <a:xfrm>
            <a:off x="171231" y="1218842"/>
            <a:ext cx="8832988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>
              <a:spcBef>
                <a:spcPts val="1200"/>
              </a:spcBef>
              <a:spcAft>
                <a:spcPts val="1200"/>
              </a:spcAft>
              <a:buAutoNum type="romanUcPeriod"/>
            </a:pPr>
            <a:r>
              <a:rPr lang="en-GB" sz="1600" b="1" dirty="0"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ap remaining reserves of growth and higher productivity</a:t>
            </a:r>
            <a:r>
              <a:rPr lang="en-GB" sz="1600" dirty="0"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build </a:t>
            </a:r>
            <a:r>
              <a:rPr lang="en-GB" sz="16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a genuine</a:t>
            </a:r>
            <a:r>
              <a:rPr lang="en-GB" sz="1600" dirty="0"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S&amp;I Union to mobilise private capital and remove remaining barriers in the Single Market</a:t>
            </a:r>
          </a:p>
          <a:p>
            <a:pPr marL="400050" indent="-400050">
              <a:spcBef>
                <a:spcPts val="1200"/>
              </a:spcBef>
              <a:spcAft>
                <a:spcPts val="1200"/>
              </a:spcAft>
              <a:buAutoNum type="romanUcPeriod"/>
            </a:pPr>
            <a:r>
              <a:rPr lang="en-GB" sz="1600" b="1" i="0" dirty="0">
                <a:effectLst/>
                <a:latin typeface="+mn-lt"/>
              </a:rPr>
              <a:t>Adopt a more sustainable</a:t>
            </a:r>
            <a:r>
              <a:rPr lang="en-GB" sz="1600" b="1" dirty="0">
                <a:latin typeface="+mn-lt"/>
              </a:rPr>
              <a:t> and</a:t>
            </a:r>
            <a:r>
              <a:rPr lang="en-GB" sz="1600" b="1" i="0" dirty="0">
                <a:effectLst/>
                <a:latin typeface="+mn-lt"/>
              </a:rPr>
              <a:t> growth‑friendly fiscal policy</a:t>
            </a:r>
            <a:r>
              <a:rPr lang="en-GB" sz="1600" b="1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pPr marL="687388" lvl="1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hift towards taxes less harmful to growth and that fairly support the green transition</a:t>
            </a:r>
          </a:p>
          <a:p>
            <a:pPr marL="687388" lvl="1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se flexibility offered by the new EU fiscal rules to prioritise productive public investment (R&amp;D, education) and structural reforms that boost productivity and long‑term growth </a:t>
            </a:r>
            <a:endParaRPr lang="en-GB" sz="1600" i="0" dirty="0">
              <a:effectLst/>
              <a:latin typeface="+mn-lt"/>
              <a:cs typeface="Times New Roman" panose="02020603050405020304" pitchFamily="18" charset="0"/>
            </a:endParaRPr>
          </a:p>
          <a:p>
            <a:pPr marL="401638" lvl="1">
              <a:spcBef>
                <a:spcPts val="1200"/>
              </a:spcBef>
              <a:spcAft>
                <a:spcPts val="1200"/>
              </a:spcAft>
            </a:pPr>
            <a:r>
              <a:rPr lang="en-GB" sz="1600" i="0" dirty="0">
                <a:effectLst/>
                <a:latin typeface="+mn-lt"/>
              </a:rPr>
              <a:t>Fiscal consolidation must not jeopardise future prosperity: Europe needs investment to generate the productivity gains that can sustain its social model and ageing population</a:t>
            </a:r>
            <a:endParaRPr lang="en-GB" sz="1600" b="0" i="0" dirty="0">
              <a:solidFill>
                <a:srgbClr val="555555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477744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69D0458-D543-33E4-C081-5276CB53E4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6" imgH="346" progId="TCLayout.ActiveDocument.1">
                  <p:embed/>
                </p:oleObj>
              </mc:Choice>
              <mc:Fallback>
                <p:oleObj name="think-cell Slide" r:id="rId4" imgW="346" imgH="34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9D0458-D543-33E4-C081-5276CB53E4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83FAE5D-D381-4F89-A2F1-976D502FCE2E}"/>
              </a:ext>
            </a:extLst>
          </p:cNvPr>
          <p:cNvSpPr/>
          <p:nvPr/>
        </p:nvSpPr>
        <p:spPr bwMode="auto">
          <a:xfrm>
            <a:off x="0" y="0"/>
            <a:ext cx="9144000" cy="1041009"/>
          </a:xfrm>
          <a:prstGeom prst="rect">
            <a:avLst/>
          </a:prstGeom>
          <a:noFill/>
          <a:ln w="9525" cap="flat" cmpd="sng" algn="ctr">
            <a:solidFill>
              <a:srgbClr val="F9F9F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 charset="0"/>
              <a:ea typeface="ヒラギノ角ゴ Pro W3" pitchFamily="-64" charset="-128"/>
              <a:cs typeface="Arial" pitchFamily="34" charset="0"/>
            </a:endParaRPr>
          </a:p>
        </p:txBody>
      </p:sp>
      <p:cxnSp>
        <p:nvCxnSpPr>
          <p:cNvPr id="39938" name="Straight Connector 1"/>
          <p:cNvCxnSpPr>
            <a:cxnSpLocks noChangeShapeType="1"/>
          </p:cNvCxnSpPr>
          <p:nvPr/>
        </p:nvCxnSpPr>
        <p:spPr bwMode="auto">
          <a:xfrm>
            <a:off x="0" y="0"/>
            <a:ext cx="914400" cy="0"/>
          </a:xfrm>
          <a:prstGeom prst="line">
            <a:avLst/>
          </a:prstGeom>
          <a:noFill/>
          <a:ln w="0" algn="ctr">
            <a:solidFill>
              <a:srgbClr val="FB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044000"/>
          </a:xfrm>
          <a:solidFill>
            <a:schemeClr val="bg1">
              <a:lumMod val="95000"/>
            </a:schemeClr>
          </a:solidFill>
        </p:spPr>
        <p:txBody>
          <a:bodyPr vert="horz" lIns="108000" anchor="ctr"/>
          <a:lstStyle/>
          <a:p>
            <a:pPr>
              <a:lnSpc>
                <a:spcPts val="2800"/>
              </a:lnSpc>
              <a:defRPr/>
            </a:pPr>
            <a:r>
              <a:rPr lang="en-GB" altLang="en-US" sz="2200" b="1" dirty="0"/>
              <a:t> ... and do better (2)</a:t>
            </a:r>
          </a:p>
        </p:txBody>
      </p:sp>
      <p:sp>
        <p:nvSpPr>
          <p:cNvPr id="39941" name="Slide Number Placeholder 4"/>
          <p:cNvSpPr>
            <a:spLocks noGrp="1"/>
          </p:cNvSpPr>
          <p:nvPr>
            <p:ph type="sldNum" sz="quarter" idx="10"/>
          </p:nvPr>
        </p:nvSpPr>
        <p:spPr bwMode="auto">
          <a:xfrm>
            <a:off x="4357688" y="4857750"/>
            <a:ext cx="414337" cy="136525"/>
          </a:xfrm>
          <a:noFill/>
        </p:spPr>
        <p:txBody>
          <a:bodyPr vert="horz"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55DA97-E807-44DE-981C-D28726AB97F3}" type="slidenum"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ヒラギノ角ゴ Pro W3"/>
                <a:cs typeface="ヒラギノ角ゴ Pro W3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1EBF97C-8B6A-7E18-1DE9-A84743586309}"/>
              </a:ext>
            </a:extLst>
          </p:cNvPr>
          <p:cNvSpPr txBox="1"/>
          <p:nvPr/>
        </p:nvSpPr>
        <p:spPr>
          <a:xfrm>
            <a:off x="182879" y="1189722"/>
            <a:ext cx="8767157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b="1" dirty="0">
                <a:solidFill>
                  <a:srgbClr val="555555"/>
                </a:solidFill>
                <a:latin typeface="Open Sans" panose="020B0606030504020204" pitchFamily="34" charset="0"/>
              </a:rPr>
              <a:t>III.  D</a:t>
            </a:r>
            <a:r>
              <a:rPr lang="en-GB" sz="1800" b="1" i="0" dirty="0">
                <a:solidFill>
                  <a:srgbClr val="555555"/>
                </a:solidFill>
                <a:effectLst/>
                <a:latin typeface="Open Sans" panose="020B0606030504020204" pitchFamily="34" charset="0"/>
              </a:rPr>
              <a:t>eploy collective resources more efficiently</a:t>
            </a:r>
            <a:r>
              <a:rPr lang="en-GB" sz="1800" b="0" i="0" dirty="0">
                <a:solidFill>
                  <a:srgbClr val="555555"/>
                </a:solidFill>
                <a:effectLst/>
                <a:latin typeface="Open Sans" panose="020B0606030504020204" pitchFamily="34" charset="0"/>
              </a:rPr>
              <a:t>: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555555"/>
              </a:solidFill>
              <a:latin typeface="Open Sans" panose="020B0606030504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dirty="0">
                <a:effectLst/>
                <a:latin typeface="fkGroteskNeue"/>
              </a:rPr>
              <a:t>Europe faces unprecedented investment needs to finance the green, digital and defence transitions. Together, these are estimated to require an additional €1.2 trillion of spending per year between now and 203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GB" dirty="0">
              <a:latin typeface="fkGroteskNeue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fkGroteskNeue"/>
              </a:rPr>
              <a:t>We </a:t>
            </a:r>
            <a:r>
              <a:rPr lang="en-GB" b="0" i="0" dirty="0">
                <a:effectLst/>
                <a:latin typeface="fkGroteskNeue"/>
              </a:rPr>
              <a:t>should explore the way to pool national resources in high‑multiplier, cross‑border areas (notably R&amp;D, energy and defence) where Europe needs to build strategic capabilities and can reap clear economies of sca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GB" b="0" i="0" dirty="0">
              <a:effectLst/>
              <a:latin typeface="fkGroteskNeue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fkGroteskNeue"/>
              </a:rPr>
              <a:t>EU budget instruments should be used to mobilise private capital</a:t>
            </a:r>
          </a:p>
        </p:txBody>
      </p:sp>
    </p:spTree>
    <p:extLst>
      <p:ext uri="{BB962C8B-B14F-4D97-AF65-F5344CB8AC3E}">
        <p14:creationId xmlns:p14="http://schemas.microsoft.com/office/powerpoint/2010/main" val="19977500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3175"/>
            <a:ext cx="4621213" cy="5146675"/>
          </a:xfrm>
        </p:spPr>
      </p:pic>
      <p:sp>
        <p:nvSpPr>
          <p:cNvPr id="30723" name="Slide Number Placeholder 2"/>
          <p:cNvSpPr>
            <a:spLocks noGrp="1"/>
          </p:cNvSpPr>
          <p:nvPr>
            <p:ph type="sldNum" sz="quarter" idx="17"/>
          </p:nvPr>
        </p:nvSpPr>
        <p:spPr bwMode="auto">
          <a:noFill/>
        </p:spPr>
        <p:txBody>
          <a:bodyPr vert="horz"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2B33CD1-6432-40ED-B5F2-3E6438483F98}" type="slidenum"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ヒラギノ角ゴ Pro W3"/>
                <a:cs typeface="ヒラギノ角ゴ Pro W3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11713" y="2138363"/>
            <a:ext cx="3968750" cy="1262062"/>
          </a:xfrm>
        </p:spPr>
        <p:txBody>
          <a:bodyPr/>
          <a:lstStyle/>
          <a:p>
            <a:pPr eaLnBrk="1" hangingPunct="1">
              <a:lnSpc>
                <a:spcPts val="3500"/>
              </a:lnSpc>
              <a:spcBef>
                <a:spcPct val="0"/>
              </a:spcBef>
              <a:defRPr/>
            </a:pPr>
            <a:r>
              <a:rPr lang="en-US" dirty="0"/>
              <a:t>Thank you for your attention</a:t>
            </a:r>
            <a:r>
              <a:rPr lang="en-DE"/>
              <a:t>!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67315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" val="-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_ASSOC" val="-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" val="-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_ASSOC" val="-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_ASSOC" val="-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" val="-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" val="-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_ASSOC" val="-1"/>
</p:tagLst>
</file>

<file path=ppt/theme/theme1.xml><?xml version="1.0" encoding="utf-8"?>
<a:theme xmlns:a="http://schemas.openxmlformats.org/drawingml/2006/main" name="ECB Default 16x9">
  <a:themeElements>
    <a:clrScheme name="___FINAL___ECB___">
      <a:dk1>
        <a:srgbClr val="585858"/>
      </a:dk1>
      <a:lt1>
        <a:srgbClr val="FFFFFF"/>
      </a:lt1>
      <a:dk2>
        <a:srgbClr val="003399"/>
      </a:dk2>
      <a:lt2>
        <a:srgbClr val="BEBEBE"/>
      </a:lt2>
      <a:accent1>
        <a:srgbClr val="003399"/>
      </a:accent1>
      <a:accent2>
        <a:srgbClr val="4078B8"/>
      </a:accent2>
      <a:accent3>
        <a:srgbClr val="AF7598"/>
      </a:accent3>
      <a:accent4>
        <a:srgbClr val="682E32"/>
      </a:accent4>
      <a:accent5>
        <a:srgbClr val="EAC568"/>
      </a:accent5>
      <a:accent6>
        <a:srgbClr val="77B37F"/>
      </a:accent6>
      <a:hlink>
        <a:srgbClr val="5FA3DB"/>
      </a:hlink>
      <a:folHlink>
        <a:srgbClr val="A50021"/>
      </a:folHlink>
    </a:clrScheme>
    <a:fontScheme name="5_Leere Präsentation">
      <a:majorFont>
        <a:latin typeface="Arial Black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6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64" charset="-128"/>
          </a:defRPr>
        </a:defPPr>
      </a:lstStyle>
    </a:lnDef>
  </a:objectDefaults>
  <a:extraClrSchemeLst>
    <a:extraClrScheme>
      <a:clrScheme name="5_Leere Präsentation 1">
        <a:dk1>
          <a:srgbClr val="585858"/>
        </a:dk1>
        <a:lt1>
          <a:srgbClr val="FFFFFF"/>
        </a:lt1>
        <a:dk2>
          <a:srgbClr val="003399"/>
        </a:dk2>
        <a:lt2>
          <a:srgbClr val="BEBEBE"/>
        </a:lt2>
        <a:accent1>
          <a:srgbClr val="4078B8"/>
        </a:accent1>
        <a:accent2>
          <a:srgbClr val="000066"/>
        </a:accent2>
        <a:accent3>
          <a:srgbClr val="FFFFFF"/>
        </a:accent3>
        <a:accent4>
          <a:srgbClr val="4A4A4A"/>
        </a:accent4>
        <a:accent5>
          <a:srgbClr val="AFBED8"/>
        </a:accent5>
        <a:accent6>
          <a:srgbClr val="00005C"/>
        </a:accent6>
        <a:hlink>
          <a:srgbClr val="008080"/>
        </a:hlink>
        <a:folHlink>
          <a:srgbClr val="A5002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ECB Default 16x9">
  <a:themeElements>
    <a:clrScheme name="___FINAL___ECB___">
      <a:dk1>
        <a:srgbClr val="585858"/>
      </a:dk1>
      <a:lt1>
        <a:srgbClr val="FFFFFF"/>
      </a:lt1>
      <a:dk2>
        <a:srgbClr val="003399"/>
      </a:dk2>
      <a:lt2>
        <a:srgbClr val="BEBEBE"/>
      </a:lt2>
      <a:accent1>
        <a:srgbClr val="003399"/>
      </a:accent1>
      <a:accent2>
        <a:srgbClr val="4078B8"/>
      </a:accent2>
      <a:accent3>
        <a:srgbClr val="AF7598"/>
      </a:accent3>
      <a:accent4>
        <a:srgbClr val="682E32"/>
      </a:accent4>
      <a:accent5>
        <a:srgbClr val="EAC568"/>
      </a:accent5>
      <a:accent6>
        <a:srgbClr val="77B37F"/>
      </a:accent6>
      <a:hlink>
        <a:srgbClr val="5FA3DB"/>
      </a:hlink>
      <a:folHlink>
        <a:srgbClr val="A50021"/>
      </a:folHlink>
    </a:clrScheme>
    <a:fontScheme name="5_Leere Präsentation">
      <a:majorFont>
        <a:latin typeface="Arial Black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6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64" charset="-128"/>
          </a:defRPr>
        </a:defPPr>
      </a:lstStyle>
    </a:lnDef>
  </a:objectDefaults>
  <a:extraClrSchemeLst>
    <a:extraClrScheme>
      <a:clrScheme name="5_Leere Präsentation 1">
        <a:dk1>
          <a:srgbClr val="585858"/>
        </a:dk1>
        <a:lt1>
          <a:srgbClr val="FFFFFF"/>
        </a:lt1>
        <a:dk2>
          <a:srgbClr val="003399"/>
        </a:dk2>
        <a:lt2>
          <a:srgbClr val="BEBEBE"/>
        </a:lt2>
        <a:accent1>
          <a:srgbClr val="4078B8"/>
        </a:accent1>
        <a:accent2>
          <a:srgbClr val="000066"/>
        </a:accent2>
        <a:accent3>
          <a:srgbClr val="FFFFFF"/>
        </a:accent3>
        <a:accent4>
          <a:srgbClr val="4A4A4A"/>
        </a:accent4>
        <a:accent5>
          <a:srgbClr val="AFBED8"/>
        </a:accent5>
        <a:accent6>
          <a:srgbClr val="00005C"/>
        </a:accent6>
        <a:hlink>
          <a:srgbClr val="008080"/>
        </a:hlink>
        <a:folHlink>
          <a:srgbClr val="A5002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CB Default 16x9</Template>
  <TotalTime>0</TotalTime>
  <Words>441</Words>
  <Application>Microsoft Macintosh PowerPoint</Application>
  <PresentationFormat>On-screen Show (16:9)</PresentationFormat>
  <Paragraphs>51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8" baseType="lpstr">
      <vt:lpstr>Arial</vt:lpstr>
      <vt:lpstr>Arial Black</vt:lpstr>
      <vt:lpstr>Calibri</vt:lpstr>
      <vt:lpstr>fkGroteskNeue</vt:lpstr>
      <vt:lpstr>Open Sans</vt:lpstr>
      <vt:lpstr>Times</vt:lpstr>
      <vt:lpstr>Times New Roman</vt:lpstr>
      <vt:lpstr>ヒラギノ角ゴ Pro W3</vt:lpstr>
      <vt:lpstr>ECB Default 16x9</vt:lpstr>
      <vt:lpstr>1_ECB Default 16x9</vt:lpstr>
      <vt:lpstr>think-cell Slide</vt:lpstr>
      <vt:lpstr>The 2026 European Semester Autumn Package</vt:lpstr>
      <vt:lpstr> Monetary Policy Statement of 30 October 2025</vt:lpstr>
      <vt:lpstr> Policy challenges: doing more with less  </vt:lpstr>
      <vt:lpstr> Europe must build on its strengths … </vt:lpstr>
      <vt:lpstr>  ... to do better (1)</vt:lpstr>
      <vt:lpstr> ... and do better (2)</vt:lpstr>
      <vt:lpstr>PowerPoint Presentation</vt:lpstr>
    </vt:vector>
  </TitlesOfParts>
  <Company>European Central 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conomic governance review</dc:title>
  <dc:creator>Rouveyrol, Clément</dc:creator>
  <cp:lastModifiedBy>KHAN Muhammad imran</cp:lastModifiedBy>
  <cp:revision>1239</cp:revision>
  <cp:lastPrinted>2024-01-04T15:12:47Z</cp:lastPrinted>
  <dcterms:created xsi:type="dcterms:W3CDTF">2022-07-26T08:07:07Z</dcterms:created>
  <dcterms:modified xsi:type="dcterms:W3CDTF">2025-12-11T11:56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3da18b0-dae3-4c1e-8278-86f688a3028c_Enabled">
    <vt:lpwstr>true</vt:lpwstr>
  </property>
  <property fmtid="{D5CDD505-2E9C-101B-9397-08002B2CF9AE}" pid="3" name="MSIP_Label_23da18b0-dae3-4c1e-8278-86f688a3028c_SetDate">
    <vt:lpwstr>2025-11-24T13:23:51Z</vt:lpwstr>
  </property>
  <property fmtid="{D5CDD505-2E9C-101B-9397-08002B2CF9AE}" pid="4" name="MSIP_Label_23da18b0-dae3-4c1e-8278-86f688a3028c_Method">
    <vt:lpwstr>Privileged</vt:lpwstr>
  </property>
  <property fmtid="{D5CDD505-2E9C-101B-9397-08002B2CF9AE}" pid="5" name="MSIP_Label_23da18b0-dae3-4c1e-8278-86f688a3028c_Name">
    <vt:lpwstr>ECB-RESTRICTED</vt:lpwstr>
  </property>
  <property fmtid="{D5CDD505-2E9C-101B-9397-08002B2CF9AE}" pid="6" name="MSIP_Label_23da18b0-dae3-4c1e-8278-86f688a3028c_SiteId">
    <vt:lpwstr>b84ee435-4816-49d2-8d92-e740dbda4064</vt:lpwstr>
  </property>
  <property fmtid="{D5CDD505-2E9C-101B-9397-08002B2CF9AE}" pid="7" name="MSIP_Label_23da18b0-dae3-4c1e-8278-86f688a3028c_ActionId">
    <vt:lpwstr>985842ca-93d4-452c-9b8f-e6bcf2525321</vt:lpwstr>
  </property>
  <property fmtid="{D5CDD505-2E9C-101B-9397-08002B2CF9AE}" pid="8" name="MSIP_Label_23da18b0-dae3-4c1e-8278-86f688a3028c_ContentBits">
    <vt:lpwstr>1</vt:lpwstr>
  </property>
  <property fmtid="{D5CDD505-2E9C-101B-9397-08002B2CF9AE}" pid="9" name="ClassificationContentMarkingHeaderLocations">
    <vt:lpwstr>ECB Default 16x9:4\1_ECB Default 16x9:4</vt:lpwstr>
  </property>
  <property fmtid="{D5CDD505-2E9C-101B-9397-08002B2CF9AE}" pid="10" name="ClassificationContentMarkingHeaderText">
    <vt:lpwstr>ECB-RESTRICTED</vt:lpwstr>
  </property>
</Properties>
</file>